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Masters/notesMaster1.xml" ContentType="application/vnd.openxmlformats-officedocument.presentationml.notesMaster+xml"/>
  <Override PartName="/ppt/charts/style1.xml" ContentType="application/vnd.ms-office.chartstyle+xml"/>
  <Override PartName="/ppt/charts/chart1.xml" ContentType="application/vnd.openxmlformats-officedocument.drawingml.chart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olors1.xml" ContentType="application/vnd.ms-office.chartcolorstyl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9" r:id="rId1"/>
    <p:sldMasterId id="2147483757" r:id="rId2"/>
    <p:sldMasterId id="2147483786" r:id="rId3"/>
  </p:sldMasterIdLst>
  <p:notesMasterIdLst>
    <p:notesMasterId r:id="rId19"/>
  </p:notesMasterIdLst>
  <p:sldIdLst>
    <p:sldId id="2293" r:id="rId4"/>
    <p:sldId id="2294" r:id="rId5"/>
    <p:sldId id="2267" r:id="rId6"/>
    <p:sldId id="2306" r:id="rId7"/>
    <p:sldId id="2296" r:id="rId8"/>
    <p:sldId id="2297" r:id="rId9"/>
    <p:sldId id="2298" r:id="rId10"/>
    <p:sldId id="2299" r:id="rId11"/>
    <p:sldId id="2300" r:id="rId12"/>
    <p:sldId id="2301" r:id="rId13"/>
    <p:sldId id="2302" r:id="rId14"/>
    <p:sldId id="2303" r:id="rId15"/>
    <p:sldId id="2304" r:id="rId16"/>
    <p:sldId id="2305" r:id="rId17"/>
    <p:sldId id="28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56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FFF2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83"/>
    <p:restoredTop sz="93914" autoAdjust="0"/>
  </p:normalViewPr>
  <p:slideViewPr>
    <p:cSldViewPr snapToGrid="0">
      <p:cViewPr varScale="1">
        <p:scale>
          <a:sx n="51" d="100"/>
          <a:sy n="51" d="100"/>
        </p:scale>
        <p:origin x="1032" y="38"/>
      </p:cViewPr>
      <p:guideLst>
        <p:guide orient="horz" pos="165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customXml" Target="../customXml/item3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ustomXml" Target="../customXml/item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53F-4644-BD72-9BC9071D0F2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253F-4644-BD72-9BC9071D0F28}"/>
              </c:ext>
            </c:extLst>
          </c:dPt>
          <c:dPt>
            <c:idx val="2"/>
            <c:bubble3D val="0"/>
            <c:spPr>
              <a:solidFill>
                <a:schemeClr val="bg2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53F-4644-BD72-9BC9071D0F28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53F-4644-BD72-9BC9071D0F2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Quicksand" pitchFamily="2" charset="0"/>
                    <a:ea typeface="+mn-ea"/>
                    <a:cs typeface="+mn-cs"/>
                  </a:defRPr>
                </a:pPr>
                <a:endParaRPr lang="en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 Formal Employment</c:v>
                </c:pt>
                <c:pt idx="1">
                  <c:v> Informal Employment*</c:v>
                </c:pt>
                <c:pt idx="2">
                  <c:v> Unemployed</c:v>
                </c:pt>
                <c:pt idx="3">
                  <c:v> Not Economically Activ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.9</c:v>
                </c:pt>
                <c:pt idx="1">
                  <c:v>5</c:v>
                </c:pt>
                <c:pt idx="2">
                  <c:v>7.8</c:v>
                </c:pt>
                <c:pt idx="3">
                  <c:v>1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3F-4644-BD72-9BC9071D0F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3754795597967124E-2"/>
          <c:y val="0.8583183041431669"/>
          <c:w val="0.92560794218583531"/>
          <c:h val="0.123768907160037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accent5"/>
              </a:solidFill>
              <a:latin typeface="Quicksand" pitchFamily="2" charset="0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025958-4C4F-AA44-8EA3-0D54E14F3E21}" type="datetimeFigureOut">
              <a:rPr lang="en-US" smtClean="0"/>
              <a:t>5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87BD48-E153-6043-ADF5-4BD1ED6718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6193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A1CD-FE2B-4A0F-BA0A-5FE82C9BA49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224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9470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41770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5344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6914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84407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598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52302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26361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48396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65694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43656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EC092D-5F14-4033-9031-427AFC91EF4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636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0.jp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png"/><Relationship Id="rId5" Type="http://schemas.openxmlformats.org/officeDocument/2006/relationships/image" Target="../media/image20.jpg"/><Relationship Id="rId4" Type="http://schemas.openxmlformats.org/officeDocument/2006/relationships/image" Target="../media/image19.jp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png"/><Relationship Id="rId5" Type="http://schemas.openxmlformats.org/officeDocument/2006/relationships/image" Target="../media/image20.jpg"/><Relationship Id="rId4" Type="http://schemas.openxmlformats.org/officeDocument/2006/relationships/image" Target="../media/image19.jp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png"/><Relationship Id="rId5" Type="http://schemas.openxmlformats.org/officeDocument/2006/relationships/image" Target="../media/image20.jpg"/><Relationship Id="rId4" Type="http://schemas.openxmlformats.org/officeDocument/2006/relationships/image" Target="../media/image19.jp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5602DFDE-91C8-1198-84C9-6B47DF32E1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4"/>
            <a:ext cx="12191999" cy="68599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650ED17-E3D9-4121-6A80-931E19125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0558" y="1589518"/>
            <a:ext cx="6950801" cy="1655762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50364-A7A7-5137-B495-A7AC34AB6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67888" y="3602038"/>
            <a:ext cx="7034432" cy="112784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  <a:latin typeface="Quicksand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016D5-6D8A-ABCA-3F32-19AB5ECD7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06931" y="334197"/>
            <a:ext cx="6975069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26" name="Picture 25" descr="Logo&#10;&#10;Description automatically generated with low confidence">
            <a:extLst>
              <a:ext uri="{FF2B5EF4-FFF2-40B4-BE49-F238E27FC236}">
                <a16:creationId xmlns:a16="http://schemas.microsoft.com/office/drawing/2014/main" id="{E1FC5BD7-8732-ADEF-9F81-3F0DADD8D5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3115" y="5178055"/>
            <a:ext cx="2299500" cy="1509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322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74EB452A-3F34-E4BC-36A1-B9E06407DD9D}"/>
              </a:ext>
            </a:extLst>
          </p:cNvPr>
          <p:cNvSpPr/>
          <p:nvPr/>
        </p:nvSpPr>
        <p:spPr>
          <a:xfrm rot="10800000">
            <a:off x="8177366" y="3758779"/>
            <a:ext cx="3694477" cy="4834083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2691EC91-92A9-2DFD-4EDA-F8644AAFDF47}"/>
              </a:ext>
            </a:extLst>
          </p:cNvPr>
          <p:cNvSpPr/>
          <p:nvPr/>
        </p:nvSpPr>
        <p:spPr>
          <a:xfrm rot="10800000">
            <a:off x="7677415" y="6480079"/>
            <a:ext cx="765566" cy="796245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12">
            <a:extLst>
              <a:ext uri="{FF2B5EF4-FFF2-40B4-BE49-F238E27FC236}">
                <a16:creationId xmlns:a16="http://schemas.microsoft.com/office/drawing/2014/main" id="{4849155B-A9DE-EE8A-9AF8-81425A554348}"/>
              </a:ext>
            </a:extLst>
          </p:cNvPr>
          <p:cNvSpPr/>
          <p:nvPr/>
        </p:nvSpPr>
        <p:spPr>
          <a:xfrm rot="10800000">
            <a:off x="11530830" y="6395080"/>
            <a:ext cx="638498" cy="334033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E177F1D-8B04-881D-29E5-088E64B385E9}"/>
              </a:ext>
            </a:extLst>
          </p:cNvPr>
          <p:cNvGrpSpPr/>
          <p:nvPr userDrawn="1"/>
        </p:nvGrpSpPr>
        <p:grpSpPr>
          <a:xfrm>
            <a:off x="9597" y="0"/>
            <a:ext cx="4329657" cy="4281798"/>
            <a:chOff x="9597" y="0"/>
            <a:chExt cx="4329657" cy="4281798"/>
          </a:xfrm>
        </p:grpSpPr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D7A29DDB-840F-FC84-9103-E3E5B573BF40}"/>
                </a:ext>
              </a:extLst>
            </p:cNvPr>
            <p:cNvSpPr/>
            <p:nvPr/>
          </p:nvSpPr>
          <p:spPr>
            <a:xfrm>
              <a:off x="108938" y="11"/>
              <a:ext cx="3349537" cy="4281787"/>
            </a:xfrm>
            <a:custGeom>
              <a:avLst/>
              <a:gdLst/>
              <a:ahLst/>
              <a:cxnLst/>
              <a:rect l="l" t="t" r="r" b="b"/>
              <a:pathLst>
                <a:path w="3693795" h="4721860">
                  <a:moveTo>
                    <a:pt x="985329" y="60604"/>
                  </a:moveTo>
                  <a:lnTo>
                    <a:pt x="977315" y="10096"/>
                  </a:lnTo>
                  <a:lnTo>
                    <a:pt x="972172" y="0"/>
                  </a:lnTo>
                  <a:lnTo>
                    <a:pt x="684009" y="0"/>
                  </a:lnTo>
                  <a:lnTo>
                    <a:pt x="678865" y="10096"/>
                  </a:lnTo>
                  <a:lnTo>
                    <a:pt x="670852" y="60604"/>
                  </a:lnTo>
                  <a:lnTo>
                    <a:pt x="678865" y="111112"/>
                  </a:lnTo>
                  <a:lnTo>
                    <a:pt x="701192" y="154978"/>
                  </a:lnTo>
                  <a:lnTo>
                    <a:pt x="735228" y="189572"/>
                  </a:lnTo>
                  <a:lnTo>
                    <a:pt x="778395" y="212255"/>
                  </a:lnTo>
                  <a:lnTo>
                    <a:pt x="828090" y="220395"/>
                  </a:lnTo>
                  <a:lnTo>
                    <a:pt x="877785" y="212255"/>
                  </a:lnTo>
                  <a:lnTo>
                    <a:pt x="920953" y="189572"/>
                  </a:lnTo>
                  <a:lnTo>
                    <a:pt x="954989" y="154978"/>
                  </a:lnTo>
                  <a:lnTo>
                    <a:pt x="977315" y="111112"/>
                  </a:lnTo>
                  <a:lnTo>
                    <a:pt x="985329" y="60604"/>
                  </a:lnTo>
                  <a:close/>
                </a:path>
                <a:path w="3693795" h="4721860">
                  <a:moveTo>
                    <a:pt x="1194587" y="628446"/>
                  </a:moveTo>
                  <a:lnTo>
                    <a:pt x="1189532" y="583895"/>
                  </a:lnTo>
                  <a:lnTo>
                    <a:pt x="1175143" y="543001"/>
                  </a:lnTo>
                  <a:lnTo>
                    <a:pt x="1152575" y="506920"/>
                  </a:lnTo>
                  <a:lnTo>
                    <a:pt x="1122972" y="476821"/>
                  </a:lnTo>
                  <a:lnTo>
                    <a:pt x="1087462" y="453885"/>
                  </a:lnTo>
                  <a:lnTo>
                    <a:pt x="1047229" y="439267"/>
                  </a:lnTo>
                  <a:lnTo>
                    <a:pt x="1003388" y="434136"/>
                  </a:lnTo>
                  <a:lnTo>
                    <a:pt x="959548" y="439267"/>
                  </a:lnTo>
                  <a:lnTo>
                    <a:pt x="919302" y="453885"/>
                  </a:lnTo>
                  <a:lnTo>
                    <a:pt x="883805" y="476821"/>
                  </a:lnTo>
                  <a:lnTo>
                    <a:pt x="854189" y="506920"/>
                  </a:lnTo>
                  <a:lnTo>
                    <a:pt x="831621" y="543001"/>
                  </a:lnTo>
                  <a:lnTo>
                    <a:pt x="817232" y="583895"/>
                  </a:lnTo>
                  <a:lnTo>
                    <a:pt x="812190" y="628446"/>
                  </a:lnTo>
                  <a:lnTo>
                    <a:pt x="817232" y="672998"/>
                  </a:lnTo>
                  <a:lnTo>
                    <a:pt x="831621" y="713905"/>
                  </a:lnTo>
                  <a:lnTo>
                    <a:pt x="854189" y="749973"/>
                  </a:lnTo>
                  <a:lnTo>
                    <a:pt x="883805" y="780072"/>
                  </a:lnTo>
                  <a:lnTo>
                    <a:pt x="919302" y="803008"/>
                  </a:lnTo>
                  <a:lnTo>
                    <a:pt x="959548" y="817626"/>
                  </a:lnTo>
                  <a:lnTo>
                    <a:pt x="1003388" y="822756"/>
                  </a:lnTo>
                  <a:lnTo>
                    <a:pt x="1047229" y="817626"/>
                  </a:lnTo>
                  <a:lnTo>
                    <a:pt x="1087462" y="803008"/>
                  </a:lnTo>
                  <a:lnTo>
                    <a:pt x="1122972" y="780072"/>
                  </a:lnTo>
                  <a:lnTo>
                    <a:pt x="1152575" y="749973"/>
                  </a:lnTo>
                  <a:lnTo>
                    <a:pt x="1175143" y="713905"/>
                  </a:lnTo>
                  <a:lnTo>
                    <a:pt x="1189532" y="672998"/>
                  </a:lnTo>
                  <a:lnTo>
                    <a:pt x="1194587" y="628446"/>
                  </a:lnTo>
                  <a:close/>
                </a:path>
                <a:path w="3693795" h="4721860">
                  <a:moveTo>
                    <a:pt x="2110397" y="2736418"/>
                  </a:moveTo>
                  <a:lnTo>
                    <a:pt x="2105355" y="2691866"/>
                  </a:lnTo>
                  <a:lnTo>
                    <a:pt x="2090966" y="2650960"/>
                  </a:lnTo>
                  <a:lnTo>
                    <a:pt x="2068398" y="2614892"/>
                  </a:lnTo>
                  <a:lnTo>
                    <a:pt x="2038781" y="2584793"/>
                  </a:lnTo>
                  <a:lnTo>
                    <a:pt x="2003285" y="2561856"/>
                  </a:lnTo>
                  <a:lnTo>
                    <a:pt x="1963039" y="2547239"/>
                  </a:lnTo>
                  <a:lnTo>
                    <a:pt x="1919198" y="2542108"/>
                  </a:lnTo>
                  <a:lnTo>
                    <a:pt x="1875358" y="2547239"/>
                  </a:lnTo>
                  <a:lnTo>
                    <a:pt x="1835111" y="2561856"/>
                  </a:lnTo>
                  <a:lnTo>
                    <a:pt x="1799615" y="2584793"/>
                  </a:lnTo>
                  <a:lnTo>
                    <a:pt x="1770011" y="2614892"/>
                  </a:lnTo>
                  <a:lnTo>
                    <a:pt x="1747431" y="2650960"/>
                  </a:lnTo>
                  <a:lnTo>
                    <a:pt x="1733054" y="2691866"/>
                  </a:lnTo>
                  <a:lnTo>
                    <a:pt x="1728000" y="2736418"/>
                  </a:lnTo>
                  <a:lnTo>
                    <a:pt x="1733054" y="2780969"/>
                  </a:lnTo>
                  <a:lnTo>
                    <a:pt x="1747431" y="2821863"/>
                  </a:lnTo>
                  <a:lnTo>
                    <a:pt x="1770011" y="2857944"/>
                  </a:lnTo>
                  <a:lnTo>
                    <a:pt x="1799615" y="2888043"/>
                  </a:lnTo>
                  <a:lnTo>
                    <a:pt x="1835111" y="2910979"/>
                  </a:lnTo>
                  <a:lnTo>
                    <a:pt x="1875358" y="2925597"/>
                  </a:lnTo>
                  <a:lnTo>
                    <a:pt x="1919198" y="2930728"/>
                  </a:lnTo>
                  <a:lnTo>
                    <a:pt x="1963039" y="2925597"/>
                  </a:lnTo>
                  <a:lnTo>
                    <a:pt x="2003285" y="2910979"/>
                  </a:lnTo>
                  <a:lnTo>
                    <a:pt x="2038781" y="2888043"/>
                  </a:lnTo>
                  <a:lnTo>
                    <a:pt x="2068398" y="2857944"/>
                  </a:lnTo>
                  <a:lnTo>
                    <a:pt x="2090966" y="2821863"/>
                  </a:lnTo>
                  <a:lnTo>
                    <a:pt x="2105355" y="2780969"/>
                  </a:lnTo>
                  <a:lnTo>
                    <a:pt x="2110397" y="2736418"/>
                  </a:lnTo>
                  <a:close/>
                </a:path>
                <a:path w="3693795" h="4721860">
                  <a:moveTo>
                    <a:pt x="2315591" y="3313163"/>
                  </a:moveTo>
                  <a:lnTo>
                    <a:pt x="2310536" y="3268611"/>
                  </a:lnTo>
                  <a:lnTo>
                    <a:pt x="2296160" y="3227717"/>
                  </a:lnTo>
                  <a:lnTo>
                    <a:pt x="2273592" y="3191637"/>
                  </a:lnTo>
                  <a:lnTo>
                    <a:pt x="2243975" y="3161538"/>
                  </a:lnTo>
                  <a:lnTo>
                    <a:pt x="2208479" y="3138601"/>
                  </a:lnTo>
                  <a:lnTo>
                    <a:pt x="2168233" y="3123984"/>
                  </a:lnTo>
                  <a:lnTo>
                    <a:pt x="2124392" y="3118853"/>
                  </a:lnTo>
                  <a:lnTo>
                    <a:pt x="2080552" y="3123984"/>
                  </a:lnTo>
                  <a:lnTo>
                    <a:pt x="2040305" y="3138601"/>
                  </a:lnTo>
                  <a:lnTo>
                    <a:pt x="2004809" y="3161538"/>
                  </a:lnTo>
                  <a:lnTo>
                    <a:pt x="1975192" y="3191637"/>
                  </a:lnTo>
                  <a:lnTo>
                    <a:pt x="1952625" y="3227717"/>
                  </a:lnTo>
                  <a:lnTo>
                    <a:pt x="1938235" y="3268611"/>
                  </a:lnTo>
                  <a:lnTo>
                    <a:pt x="1933194" y="3313163"/>
                  </a:lnTo>
                  <a:lnTo>
                    <a:pt x="1938235" y="3357715"/>
                  </a:lnTo>
                  <a:lnTo>
                    <a:pt x="1952625" y="3398621"/>
                  </a:lnTo>
                  <a:lnTo>
                    <a:pt x="1975192" y="3434689"/>
                  </a:lnTo>
                  <a:lnTo>
                    <a:pt x="2004809" y="3464788"/>
                  </a:lnTo>
                  <a:lnTo>
                    <a:pt x="2040305" y="3487724"/>
                  </a:lnTo>
                  <a:lnTo>
                    <a:pt x="2080552" y="3502342"/>
                  </a:lnTo>
                  <a:lnTo>
                    <a:pt x="2124392" y="3507473"/>
                  </a:lnTo>
                  <a:lnTo>
                    <a:pt x="2168233" y="3502342"/>
                  </a:lnTo>
                  <a:lnTo>
                    <a:pt x="2208479" y="3487724"/>
                  </a:lnTo>
                  <a:lnTo>
                    <a:pt x="2243975" y="3464788"/>
                  </a:lnTo>
                  <a:lnTo>
                    <a:pt x="2273592" y="3434689"/>
                  </a:lnTo>
                  <a:lnTo>
                    <a:pt x="2296160" y="3398621"/>
                  </a:lnTo>
                  <a:lnTo>
                    <a:pt x="2310536" y="3357715"/>
                  </a:lnTo>
                  <a:lnTo>
                    <a:pt x="2315591" y="3313163"/>
                  </a:lnTo>
                  <a:close/>
                </a:path>
                <a:path w="3693795" h="4721860">
                  <a:moveTo>
                    <a:pt x="2551633" y="1956752"/>
                  </a:moveTo>
                  <a:lnTo>
                    <a:pt x="2547645" y="1911578"/>
                  </a:lnTo>
                  <a:lnTo>
                    <a:pt x="2536164" y="1869046"/>
                  </a:lnTo>
                  <a:lnTo>
                    <a:pt x="2517864" y="1829892"/>
                  </a:lnTo>
                  <a:lnTo>
                    <a:pt x="2493467" y="1794814"/>
                  </a:lnTo>
                  <a:lnTo>
                    <a:pt x="2463660" y="1764525"/>
                  </a:lnTo>
                  <a:lnTo>
                    <a:pt x="2429141" y="1739722"/>
                  </a:lnTo>
                  <a:lnTo>
                    <a:pt x="2390610" y="1721129"/>
                  </a:lnTo>
                  <a:lnTo>
                    <a:pt x="2348776" y="1709458"/>
                  </a:lnTo>
                  <a:lnTo>
                    <a:pt x="2304313" y="1705406"/>
                  </a:lnTo>
                  <a:lnTo>
                    <a:pt x="2259863" y="1709458"/>
                  </a:lnTo>
                  <a:lnTo>
                    <a:pt x="2218017" y="1721129"/>
                  </a:lnTo>
                  <a:lnTo>
                    <a:pt x="2179485" y="1739722"/>
                  </a:lnTo>
                  <a:lnTo>
                    <a:pt x="2144966" y="1764525"/>
                  </a:lnTo>
                  <a:lnTo>
                    <a:pt x="2115159" y="1794814"/>
                  </a:lnTo>
                  <a:lnTo>
                    <a:pt x="2090762" y="1829892"/>
                  </a:lnTo>
                  <a:lnTo>
                    <a:pt x="2072474" y="1869046"/>
                  </a:lnTo>
                  <a:lnTo>
                    <a:pt x="2060981" y="1911578"/>
                  </a:lnTo>
                  <a:lnTo>
                    <a:pt x="2056993" y="1956752"/>
                  </a:lnTo>
                  <a:lnTo>
                    <a:pt x="2060981" y="2001926"/>
                  </a:lnTo>
                  <a:lnTo>
                    <a:pt x="2072474" y="2044458"/>
                  </a:lnTo>
                  <a:lnTo>
                    <a:pt x="2090762" y="2083612"/>
                  </a:lnTo>
                  <a:lnTo>
                    <a:pt x="2115159" y="2118690"/>
                  </a:lnTo>
                  <a:lnTo>
                    <a:pt x="2144966" y="2148979"/>
                  </a:lnTo>
                  <a:lnTo>
                    <a:pt x="2179485" y="2173782"/>
                  </a:lnTo>
                  <a:lnTo>
                    <a:pt x="2218017" y="2192375"/>
                  </a:lnTo>
                  <a:lnTo>
                    <a:pt x="2259863" y="2204047"/>
                  </a:lnTo>
                  <a:lnTo>
                    <a:pt x="2304313" y="2208098"/>
                  </a:lnTo>
                  <a:lnTo>
                    <a:pt x="2348776" y="2204047"/>
                  </a:lnTo>
                  <a:lnTo>
                    <a:pt x="2390610" y="2192375"/>
                  </a:lnTo>
                  <a:lnTo>
                    <a:pt x="2429141" y="2173782"/>
                  </a:lnTo>
                  <a:lnTo>
                    <a:pt x="2463660" y="2148979"/>
                  </a:lnTo>
                  <a:lnTo>
                    <a:pt x="2493467" y="2118690"/>
                  </a:lnTo>
                  <a:lnTo>
                    <a:pt x="2517864" y="2083612"/>
                  </a:lnTo>
                  <a:lnTo>
                    <a:pt x="2536164" y="2044458"/>
                  </a:lnTo>
                  <a:lnTo>
                    <a:pt x="2547645" y="2001926"/>
                  </a:lnTo>
                  <a:lnTo>
                    <a:pt x="2551633" y="1956752"/>
                  </a:lnTo>
                  <a:close/>
                </a:path>
                <a:path w="3693795" h="4721860">
                  <a:moveTo>
                    <a:pt x="2845346" y="10020"/>
                  </a:moveTo>
                  <a:lnTo>
                    <a:pt x="1323581" y="10020"/>
                  </a:lnTo>
                  <a:lnTo>
                    <a:pt x="1314577" y="48120"/>
                  </a:lnTo>
                  <a:lnTo>
                    <a:pt x="1324521" y="98920"/>
                  </a:lnTo>
                  <a:lnTo>
                    <a:pt x="1351661" y="137020"/>
                  </a:lnTo>
                  <a:lnTo>
                    <a:pt x="1391920" y="162420"/>
                  </a:lnTo>
                  <a:lnTo>
                    <a:pt x="1441234" y="175120"/>
                  </a:lnTo>
                  <a:lnTo>
                    <a:pt x="2424163" y="175120"/>
                  </a:lnTo>
                  <a:lnTo>
                    <a:pt x="2406192" y="225920"/>
                  </a:lnTo>
                  <a:lnTo>
                    <a:pt x="2386253" y="264020"/>
                  </a:lnTo>
                  <a:lnTo>
                    <a:pt x="2364435" y="314820"/>
                  </a:lnTo>
                  <a:lnTo>
                    <a:pt x="2340800" y="365620"/>
                  </a:lnTo>
                  <a:lnTo>
                    <a:pt x="2315400" y="403720"/>
                  </a:lnTo>
                  <a:lnTo>
                    <a:pt x="2288298" y="454520"/>
                  </a:lnTo>
                  <a:lnTo>
                    <a:pt x="2259584" y="492620"/>
                  </a:lnTo>
                  <a:lnTo>
                    <a:pt x="1496834" y="492620"/>
                  </a:lnTo>
                  <a:lnTo>
                    <a:pt x="1447520" y="505320"/>
                  </a:lnTo>
                  <a:lnTo>
                    <a:pt x="1407261" y="530720"/>
                  </a:lnTo>
                  <a:lnTo>
                    <a:pt x="1380121" y="581520"/>
                  </a:lnTo>
                  <a:lnTo>
                    <a:pt x="1370177" y="619620"/>
                  </a:lnTo>
                  <a:lnTo>
                    <a:pt x="1380121" y="670420"/>
                  </a:lnTo>
                  <a:lnTo>
                    <a:pt x="1407261" y="721220"/>
                  </a:lnTo>
                  <a:lnTo>
                    <a:pt x="1447520" y="746620"/>
                  </a:lnTo>
                  <a:lnTo>
                    <a:pt x="2074989" y="746620"/>
                  </a:lnTo>
                  <a:lnTo>
                    <a:pt x="2044115" y="784720"/>
                  </a:lnTo>
                  <a:lnTo>
                    <a:pt x="2012492" y="822820"/>
                  </a:lnTo>
                  <a:lnTo>
                    <a:pt x="1980171" y="860920"/>
                  </a:lnTo>
                  <a:lnTo>
                    <a:pt x="1947189" y="899020"/>
                  </a:lnTo>
                  <a:lnTo>
                    <a:pt x="1913585" y="937120"/>
                  </a:lnTo>
                  <a:lnTo>
                    <a:pt x="1879396" y="975220"/>
                  </a:lnTo>
                  <a:lnTo>
                    <a:pt x="1844662" y="1013320"/>
                  </a:lnTo>
                  <a:lnTo>
                    <a:pt x="1809432" y="1051420"/>
                  </a:lnTo>
                  <a:lnTo>
                    <a:pt x="1773732" y="1089520"/>
                  </a:lnTo>
                  <a:lnTo>
                    <a:pt x="1737614" y="1127620"/>
                  </a:lnTo>
                  <a:lnTo>
                    <a:pt x="1701114" y="1165720"/>
                  </a:lnTo>
                  <a:lnTo>
                    <a:pt x="1627111" y="1241920"/>
                  </a:lnTo>
                  <a:lnTo>
                    <a:pt x="1589697" y="1267320"/>
                  </a:lnTo>
                  <a:lnTo>
                    <a:pt x="1400073" y="1457820"/>
                  </a:lnTo>
                  <a:lnTo>
                    <a:pt x="1361909" y="1483220"/>
                  </a:lnTo>
                  <a:lnTo>
                    <a:pt x="1247686" y="1597520"/>
                  </a:lnTo>
                  <a:lnTo>
                    <a:pt x="1128903" y="1699120"/>
                  </a:lnTo>
                  <a:lnTo>
                    <a:pt x="1085837" y="1749920"/>
                  </a:lnTo>
                  <a:lnTo>
                    <a:pt x="958227" y="1864220"/>
                  </a:lnTo>
                  <a:lnTo>
                    <a:pt x="874915" y="1940420"/>
                  </a:lnTo>
                  <a:lnTo>
                    <a:pt x="833920" y="1978520"/>
                  </a:lnTo>
                  <a:lnTo>
                    <a:pt x="793445" y="2016620"/>
                  </a:lnTo>
                  <a:lnTo>
                    <a:pt x="753503" y="2054720"/>
                  </a:lnTo>
                  <a:lnTo>
                    <a:pt x="714159" y="2092820"/>
                  </a:lnTo>
                  <a:lnTo>
                    <a:pt x="675462" y="2130920"/>
                  </a:lnTo>
                  <a:lnTo>
                    <a:pt x="637451" y="2169020"/>
                  </a:lnTo>
                  <a:lnTo>
                    <a:pt x="600176" y="2207120"/>
                  </a:lnTo>
                  <a:lnTo>
                    <a:pt x="563664" y="2245220"/>
                  </a:lnTo>
                  <a:lnTo>
                    <a:pt x="527977" y="2283320"/>
                  </a:lnTo>
                  <a:lnTo>
                    <a:pt x="493166" y="2321420"/>
                  </a:lnTo>
                  <a:lnTo>
                    <a:pt x="459270" y="2359520"/>
                  </a:lnTo>
                  <a:lnTo>
                    <a:pt x="426326" y="2397620"/>
                  </a:lnTo>
                  <a:lnTo>
                    <a:pt x="394373" y="2435720"/>
                  </a:lnTo>
                  <a:lnTo>
                    <a:pt x="363486" y="2473820"/>
                  </a:lnTo>
                  <a:lnTo>
                    <a:pt x="333692" y="2511920"/>
                  </a:lnTo>
                  <a:lnTo>
                    <a:pt x="305028" y="2550020"/>
                  </a:lnTo>
                  <a:lnTo>
                    <a:pt x="277558" y="2588120"/>
                  </a:lnTo>
                  <a:lnTo>
                    <a:pt x="251320" y="2626220"/>
                  </a:lnTo>
                  <a:lnTo>
                    <a:pt x="226352" y="2664320"/>
                  </a:lnTo>
                  <a:lnTo>
                    <a:pt x="202704" y="2702420"/>
                  </a:lnTo>
                  <a:lnTo>
                    <a:pt x="180428" y="2740520"/>
                  </a:lnTo>
                  <a:lnTo>
                    <a:pt x="159562" y="2778620"/>
                  </a:lnTo>
                  <a:lnTo>
                    <a:pt x="140144" y="2816720"/>
                  </a:lnTo>
                  <a:lnTo>
                    <a:pt x="122237" y="2854820"/>
                  </a:lnTo>
                  <a:lnTo>
                    <a:pt x="105879" y="2892920"/>
                  </a:lnTo>
                  <a:lnTo>
                    <a:pt x="91122" y="2931020"/>
                  </a:lnTo>
                  <a:lnTo>
                    <a:pt x="77990" y="2956420"/>
                  </a:lnTo>
                  <a:lnTo>
                    <a:pt x="56781" y="3032620"/>
                  </a:lnTo>
                  <a:lnTo>
                    <a:pt x="39179" y="3096120"/>
                  </a:lnTo>
                  <a:lnTo>
                    <a:pt x="25031" y="3159620"/>
                  </a:lnTo>
                  <a:lnTo>
                    <a:pt x="14198" y="3235820"/>
                  </a:lnTo>
                  <a:lnTo>
                    <a:pt x="6502" y="3299320"/>
                  </a:lnTo>
                  <a:lnTo>
                    <a:pt x="1828" y="3362820"/>
                  </a:lnTo>
                  <a:lnTo>
                    <a:pt x="0" y="3426320"/>
                  </a:lnTo>
                  <a:lnTo>
                    <a:pt x="863" y="3489820"/>
                  </a:lnTo>
                  <a:lnTo>
                    <a:pt x="4305" y="3540620"/>
                  </a:lnTo>
                  <a:lnTo>
                    <a:pt x="10134" y="3604120"/>
                  </a:lnTo>
                  <a:lnTo>
                    <a:pt x="18224" y="3667620"/>
                  </a:lnTo>
                  <a:lnTo>
                    <a:pt x="28422" y="3718420"/>
                  </a:lnTo>
                  <a:lnTo>
                    <a:pt x="40576" y="3781920"/>
                  </a:lnTo>
                  <a:lnTo>
                    <a:pt x="54521" y="3832720"/>
                  </a:lnTo>
                  <a:lnTo>
                    <a:pt x="70142" y="3883520"/>
                  </a:lnTo>
                  <a:lnTo>
                    <a:pt x="87249" y="3934320"/>
                  </a:lnTo>
                  <a:lnTo>
                    <a:pt x="105727" y="3985120"/>
                  </a:lnTo>
                  <a:lnTo>
                    <a:pt x="125399" y="4035920"/>
                  </a:lnTo>
                  <a:lnTo>
                    <a:pt x="146138" y="4086720"/>
                  </a:lnTo>
                  <a:lnTo>
                    <a:pt x="167767" y="4124820"/>
                  </a:lnTo>
                  <a:lnTo>
                    <a:pt x="190169" y="4175620"/>
                  </a:lnTo>
                  <a:lnTo>
                    <a:pt x="213169" y="4213720"/>
                  </a:lnTo>
                  <a:lnTo>
                    <a:pt x="236613" y="4251820"/>
                  </a:lnTo>
                  <a:lnTo>
                    <a:pt x="260375" y="4302620"/>
                  </a:lnTo>
                  <a:lnTo>
                    <a:pt x="284302" y="4340720"/>
                  </a:lnTo>
                  <a:lnTo>
                    <a:pt x="308216" y="4366120"/>
                  </a:lnTo>
                  <a:lnTo>
                    <a:pt x="332003" y="4404220"/>
                  </a:lnTo>
                  <a:lnTo>
                    <a:pt x="355485" y="4442320"/>
                  </a:lnTo>
                  <a:lnTo>
                    <a:pt x="378536" y="4467720"/>
                  </a:lnTo>
                  <a:lnTo>
                    <a:pt x="400977" y="4493120"/>
                  </a:lnTo>
                  <a:lnTo>
                    <a:pt x="422681" y="4518520"/>
                  </a:lnTo>
                  <a:lnTo>
                    <a:pt x="443496" y="4543920"/>
                  </a:lnTo>
                  <a:lnTo>
                    <a:pt x="463270" y="4569320"/>
                  </a:lnTo>
                  <a:lnTo>
                    <a:pt x="481838" y="4594720"/>
                  </a:lnTo>
                  <a:lnTo>
                    <a:pt x="499071" y="4607420"/>
                  </a:lnTo>
                  <a:lnTo>
                    <a:pt x="514807" y="4632820"/>
                  </a:lnTo>
                  <a:lnTo>
                    <a:pt x="528904" y="4645520"/>
                  </a:lnTo>
                  <a:lnTo>
                    <a:pt x="541210" y="4658220"/>
                  </a:lnTo>
                  <a:lnTo>
                    <a:pt x="551573" y="4658220"/>
                  </a:lnTo>
                  <a:lnTo>
                    <a:pt x="559841" y="4670920"/>
                  </a:lnTo>
                  <a:lnTo>
                    <a:pt x="565861" y="4683620"/>
                  </a:lnTo>
                  <a:lnTo>
                    <a:pt x="569493" y="4683620"/>
                  </a:lnTo>
                  <a:lnTo>
                    <a:pt x="597319" y="4696320"/>
                  </a:lnTo>
                  <a:lnTo>
                    <a:pt x="627621" y="4721720"/>
                  </a:lnTo>
                  <a:lnTo>
                    <a:pt x="729513" y="4721720"/>
                  </a:lnTo>
                  <a:lnTo>
                    <a:pt x="765454" y="4709020"/>
                  </a:lnTo>
                  <a:lnTo>
                    <a:pt x="828370" y="4670920"/>
                  </a:lnTo>
                  <a:lnTo>
                    <a:pt x="856284" y="4632820"/>
                  </a:lnTo>
                  <a:lnTo>
                    <a:pt x="872045" y="4582020"/>
                  </a:lnTo>
                  <a:lnTo>
                    <a:pt x="875779" y="4531220"/>
                  </a:lnTo>
                  <a:lnTo>
                    <a:pt x="867625" y="4493120"/>
                  </a:lnTo>
                  <a:lnTo>
                    <a:pt x="847686" y="4442320"/>
                  </a:lnTo>
                  <a:lnTo>
                    <a:pt x="816102" y="4404220"/>
                  </a:lnTo>
                  <a:lnTo>
                    <a:pt x="807847" y="4404220"/>
                  </a:lnTo>
                  <a:lnTo>
                    <a:pt x="791743" y="4378820"/>
                  </a:lnTo>
                  <a:lnTo>
                    <a:pt x="768921" y="4366120"/>
                  </a:lnTo>
                  <a:lnTo>
                    <a:pt x="740473" y="4328020"/>
                  </a:lnTo>
                  <a:lnTo>
                    <a:pt x="707555" y="4289920"/>
                  </a:lnTo>
                  <a:lnTo>
                    <a:pt x="671258" y="4251820"/>
                  </a:lnTo>
                  <a:lnTo>
                    <a:pt x="632701" y="4201020"/>
                  </a:lnTo>
                  <a:lnTo>
                    <a:pt x="553326" y="4074020"/>
                  </a:lnTo>
                  <a:lnTo>
                    <a:pt x="514731" y="3997820"/>
                  </a:lnTo>
                  <a:lnTo>
                    <a:pt x="1159827" y="3997820"/>
                  </a:lnTo>
                  <a:lnTo>
                    <a:pt x="1200086" y="3959720"/>
                  </a:lnTo>
                  <a:lnTo>
                    <a:pt x="1227226" y="3921620"/>
                  </a:lnTo>
                  <a:lnTo>
                    <a:pt x="1237170" y="3870820"/>
                  </a:lnTo>
                  <a:lnTo>
                    <a:pt x="1227226" y="3820020"/>
                  </a:lnTo>
                  <a:lnTo>
                    <a:pt x="1200086" y="3781920"/>
                  </a:lnTo>
                  <a:lnTo>
                    <a:pt x="1159827" y="3756520"/>
                  </a:lnTo>
                  <a:lnTo>
                    <a:pt x="1110513" y="3743820"/>
                  </a:lnTo>
                  <a:lnTo>
                    <a:pt x="413499" y="3743820"/>
                  </a:lnTo>
                  <a:lnTo>
                    <a:pt x="401281" y="3705720"/>
                  </a:lnTo>
                  <a:lnTo>
                    <a:pt x="390766" y="3654920"/>
                  </a:lnTo>
                  <a:lnTo>
                    <a:pt x="382104" y="3604120"/>
                  </a:lnTo>
                  <a:lnTo>
                    <a:pt x="375450" y="3553320"/>
                  </a:lnTo>
                  <a:lnTo>
                    <a:pt x="370941" y="3502520"/>
                  </a:lnTo>
                  <a:lnTo>
                    <a:pt x="368731" y="3451720"/>
                  </a:lnTo>
                  <a:lnTo>
                    <a:pt x="1493862" y="3451720"/>
                  </a:lnTo>
                  <a:lnTo>
                    <a:pt x="1543177" y="3439020"/>
                  </a:lnTo>
                  <a:lnTo>
                    <a:pt x="1583436" y="3413620"/>
                  </a:lnTo>
                  <a:lnTo>
                    <a:pt x="1610575" y="3375520"/>
                  </a:lnTo>
                  <a:lnTo>
                    <a:pt x="1620520" y="3324720"/>
                  </a:lnTo>
                  <a:lnTo>
                    <a:pt x="1610575" y="3273920"/>
                  </a:lnTo>
                  <a:lnTo>
                    <a:pt x="1583436" y="3235820"/>
                  </a:lnTo>
                  <a:lnTo>
                    <a:pt x="1543177" y="3210420"/>
                  </a:lnTo>
                  <a:lnTo>
                    <a:pt x="1493862" y="3197720"/>
                  </a:lnTo>
                  <a:lnTo>
                    <a:pt x="393382" y="3197720"/>
                  </a:lnTo>
                  <a:lnTo>
                    <a:pt x="400278" y="3172320"/>
                  </a:lnTo>
                  <a:lnTo>
                    <a:pt x="408038" y="3134220"/>
                  </a:lnTo>
                  <a:lnTo>
                    <a:pt x="416763" y="3108820"/>
                  </a:lnTo>
                  <a:lnTo>
                    <a:pt x="426529" y="3083420"/>
                  </a:lnTo>
                  <a:lnTo>
                    <a:pt x="441350" y="3032620"/>
                  </a:lnTo>
                  <a:lnTo>
                    <a:pt x="459257" y="2994520"/>
                  </a:lnTo>
                  <a:lnTo>
                    <a:pt x="480085" y="2956420"/>
                  </a:lnTo>
                  <a:lnTo>
                    <a:pt x="503656" y="2918320"/>
                  </a:lnTo>
                  <a:lnTo>
                    <a:pt x="529818" y="2867520"/>
                  </a:lnTo>
                  <a:lnTo>
                    <a:pt x="1442580" y="2867520"/>
                  </a:lnTo>
                  <a:lnTo>
                    <a:pt x="1482839" y="2829420"/>
                  </a:lnTo>
                  <a:lnTo>
                    <a:pt x="1509979" y="2791320"/>
                  </a:lnTo>
                  <a:lnTo>
                    <a:pt x="1519923" y="2740520"/>
                  </a:lnTo>
                  <a:lnTo>
                    <a:pt x="1509979" y="2702420"/>
                  </a:lnTo>
                  <a:lnTo>
                    <a:pt x="1482839" y="2651620"/>
                  </a:lnTo>
                  <a:lnTo>
                    <a:pt x="1442580" y="2626220"/>
                  </a:lnTo>
                  <a:lnTo>
                    <a:pt x="1393266" y="2613520"/>
                  </a:lnTo>
                  <a:lnTo>
                    <a:pt x="723988" y="2613520"/>
                  </a:lnTo>
                  <a:lnTo>
                    <a:pt x="754214" y="2588120"/>
                  </a:lnTo>
                  <a:lnTo>
                    <a:pt x="785418" y="2550020"/>
                  </a:lnTo>
                  <a:lnTo>
                    <a:pt x="817549" y="2511920"/>
                  </a:lnTo>
                  <a:lnTo>
                    <a:pt x="850595" y="2486520"/>
                  </a:lnTo>
                  <a:lnTo>
                    <a:pt x="884466" y="2448420"/>
                  </a:lnTo>
                  <a:lnTo>
                    <a:pt x="919149" y="2410320"/>
                  </a:lnTo>
                  <a:lnTo>
                    <a:pt x="954570" y="2372220"/>
                  </a:lnTo>
                  <a:lnTo>
                    <a:pt x="990701" y="2334120"/>
                  </a:lnTo>
                  <a:lnTo>
                    <a:pt x="1027493" y="2308720"/>
                  </a:lnTo>
                  <a:lnTo>
                    <a:pt x="1064895" y="2270620"/>
                  </a:lnTo>
                  <a:lnTo>
                    <a:pt x="1102842" y="2232520"/>
                  </a:lnTo>
                  <a:lnTo>
                    <a:pt x="1141323" y="2194420"/>
                  </a:lnTo>
                  <a:lnTo>
                    <a:pt x="1180261" y="2156320"/>
                  </a:lnTo>
                  <a:lnTo>
                    <a:pt x="1259370" y="2080120"/>
                  </a:lnTo>
                  <a:lnTo>
                    <a:pt x="1339773" y="2003920"/>
                  </a:lnTo>
                  <a:lnTo>
                    <a:pt x="1380350" y="1978520"/>
                  </a:lnTo>
                  <a:lnTo>
                    <a:pt x="1460766" y="1902320"/>
                  </a:lnTo>
                  <a:lnTo>
                    <a:pt x="1737309" y="1635620"/>
                  </a:lnTo>
                  <a:lnTo>
                    <a:pt x="1776310" y="1597520"/>
                  </a:lnTo>
                  <a:lnTo>
                    <a:pt x="1815109" y="1572120"/>
                  </a:lnTo>
                  <a:lnTo>
                    <a:pt x="1891931" y="1495920"/>
                  </a:lnTo>
                  <a:lnTo>
                    <a:pt x="1967534" y="1419720"/>
                  </a:lnTo>
                  <a:lnTo>
                    <a:pt x="2004809" y="1381620"/>
                  </a:lnTo>
                  <a:lnTo>
                    <a:pt x="2041690" y="1343520"/>
                  </a:lnTo>
                  <a:lnTo>
                    <a:pt x="2078139" y="1305420"/>
                  </a:lnTo>
                  <a:lnTo>
                    <a:pt x="2114143" y="1267320"/>
                  </a:lnTo>
                  <a:lnTo>
                    <a:pt x="2149665" y="1229220"/>
                  </a:lnTo>
                  <a:lnTo>
                    <a:pt x="2184679" y="1191120"/>
                  </a:lnTo>
                  <a:lnTo>
                    <a:pt x="2219147" y="1153020"/>
                  </a:lnTo>
                  <a:lnTo>
                    <a:pt x="2253030" y="1114920"/>
                  </a:lnTo>
                  <a:lnTo>
                    <a:pt x="2286330" y="1076820"/>
                  </a:lnTo>
                  <a:lnTo>
                    <a:pt x="2318982" y="1038720"/>
                  </a:lnTo>
                  <a:lnTo>
                    <a:pt x="2350986" y="1000620"/>
                  </a:lnTo>
                  <a:lnTo>
                    <a:pt x="2382291" y="962520"/>
                  </a:lnTo>
                  <a:lnTo>
                    <a:pt x="2412873" y="924420"/>
                  </a:lnTo>
                  <a:lnTo>
                    <a:pt x="2442705" y="886320"/>
                  </a:lnTo>
                  <a:lnTo>
                    <a:pt x="2471763" y="848220"/>
                  </a:lnTo>
                  <a:lnTo>
                    <a:pt x="2499995" y="797420"/>
                  </a:lnTo>
                  <a:lnTo>
                    <a:pt x="2527401" y="759320"/>
                  </a:lnTo>
                  <a:lnTo>
                    <a:pt x="2553932" y="721220"/>
                  </a:lnTo>
                  <a:lnTo>
                    <a:pt x="2579560" y="683120"/>
                  </a:lnTo>
                  <a:lnTo>
                    <a:pt x="2604262" y="645020"/>
                  </a:lnTo>
                  <a:lnTo>
                    <a:pt x="2627998" y="606920"/>
                  </a:lnTo>
                  <a:lnTo>
                    <a:pt x="2650744" y="568820"/>
                  </a:lnTo>
                  <a:lnTo>
                    <a:pt x="2672473" y="518020"/>
                  </a:lnTo>
                  <a:lnTo>
                    <a:pt x="2693162" y="479920"/>
                  </a:lnTo>
                  <a:lnTo>
                    <a:pt x="2712758" y="441820"/>
                  </a:lnTo>
                  <a:lnTo>
                    <a:pt x="2731249" y="403720"/>
                  </a:lnTo>
                  <a:lnTo>
                    <a:pt x="2748610" y="365620"/>
                  </a:lnTo>
                  <a:lnTo>
                    <a:pt x="2764790" y="314820"/>
                  </a:lnTo>
                  <a:lnTo>
                    <a:pt x="2779776" y="276720"/>
                  </a:lnTo>
                  <a:lnTo>
                    <a:pt x="2793530" y="238620"/>
                  </a:lnTo>
                  <a:lnTo>
                    <a:pt x="2806039" y="187820"/>
                  </a:lnTo>
                  <a:lnTo>
                    <a:pt x="2817241" y="149720"/>
                  </a:lnTo>
                  <a:lnTo>
                    <a:pt x="2827134" y="111620"/>
                  </a:lnTo>
                  <a:lnTo>
                    <a:pt x="2835681" y="73520"/>
                  </a:lnTo>
                  <a:lnTo>
                    <a:pt x="2842857" y="22720"/>
                  </a:lnTo>
                  <a:lnTo>
                    <a:pt x="2845346" y="10020"/>
                  </a:lnTo>
                  <a:close/>
                </a:path>
                <a:path w="3693795" h="4721860">
                  <a:moveTo>
                    <a:pt x="3506774" y="1344333"/>
                  </a:moveTo>
                  <a:lnTo>
                    <a:pt x="3503396" y="1297622"/>
                  </a:lnTo>
                  <a:lnTo>
                    <a:pt x="3493605" y="1253045"/>
                  </a:lnTo>
                  <a:lnTo>
                    <a:pt x="3477857" y="1211084"/>
                  </a:lnTo>
                  <a:lnTo>
                    <a:pt x="3456660" y="1172222"/>
                  </a:lnTo>
                  <a:lnTo>
                    <a:pt x="3430473" y="1136954"/>
                  </a:lnTo>
                  <a:lnTo>
                    <a:pt x="3399790" y="1105776"/>
                  </a:lnTo>
                  <a:lnTo>
                    <a:pt x="3365093" y="1079169"/>
                  </a:lnTo>
                  <a:lnTo>
                    <a:pt x="3326854" y="1057630"/>
                  </a:lnTo>
                  <a:lnTo>
                    <a:pt x="3285566" y="1041628"/>
                  </a:lnTo>
                  <a:lnTo>
                    <a:pt x="3241700" y="1031671"/>
                  </a:lnTo>
                  <a:lnTo>
                    <a:pt x="3195739" y="1028242"/>
                  </a:lnTo>
                  <a:lnTo>
                    <a:pt x="3149777" y="1031671"/>
                  </a:lnTo>
                  <a:lnTo>
                    <a:pt x="3105899" y="1041628"/>
                  </a:lnTo>
                  <a:lnTo>
                    <a:pt x="3064611" y="1057630"/>
                  </a:lnTo>
                  <a:lnTo>
                    <a:pt x="3026372" y="1079169"/>
                  </a:lnTo>
                  <a:lnTo>
                    <a:pt x="2991675" y="1105776"/>
                  </a:lnTo>
                  <a:lnTo>
                    <a:pt x="2960992" y="1136954"/>
                  </a:lnTo>
                  <a:lnTo>
                    <a:pt x="2934805" y="1172222"/>
                  </a:lnTo>
                  <a:lnTo>
                    <a:pt x="2913608" y="1211084"/>
                  </a:lnTo>
                  <a:lnTo>
                    <a:pt x="2897873" y="1253045"/>
                  </a:lnTo>
                  <a:lnTo>
                    <a:pt x="2888069" y="1297622"/>
                  </a:lnTo>
                  <a:lnTo>
                    <a:pt x="2884703" y="1344333"/>
                  </a:lnTo>
                  <a:lnTo>
                    <a:pt x="2888069" y="1391043"/>
                  </a:lnTo>
                  <a:lnTo>
                    <a:pt x="2897873" y="1435633"/>
                  </a:lnTo>
                  <a:lnTo>
                    <a:pt x="2913608" y="1477594"/>
                  </a:lnTo>
                  <a:lnTo>
                    <a:pt x="2934805" y="1516456"/>
                  </a:lnTo>
                  <a:lnTo>
                    <a:pt x="2960992" y="1551711"/>
                  </a:lnTo>
                  <a:lnTo>
                    <a:pt x="2991675" y="1582902"/>
                  </a:lnTo>
                  <a:lnTo>
                    <a:pt x="3026372" y="1609509"/>
                  </a:lnTo>
                  <a:lnTo>
                    <a:pt x="3064611" y="1631048"/>
                  </a:lnTo>
                  <a:lnTo>
                    <a:pt x="3105899" y="1647050"/>
                  </a:lnTo>
                  <a:lnTo>
                    <a:pt x="3149777" y="1657007"/>
                  </a:lnTo>
                  <a:lnTo>
                    <a:pt x="3195739" y="1660423"/>
                  </a:lnTo>
                  <a:lnTo>
                    <a:pt x="3241700" y="1657007"/>
                  </a:lnTo>
                  <a:lnTo>
                    <a:pt x="3285566" y="1647050"/>
                  </a:lnTo>
                  <a:lnTo>
                    <a:pt x="3326854" y="1631048"/>
                  </a:lnTo>
                  <a:lnTo>
                    <a:pt x="3365093" y="1609509"/>
                  </a:lnTo>
                  <a:lnTo>
                    <a:pt x="3399790" y="1582902"/>
                  </a:lnTo>
                  <a:lnTo>
                    <a:pt x="3430473" y="1551711"/>
                  </a:lnTo>
                  <a:lnTo>
                    <a:pt x="3456660" y="1516456"/>
                  </a:lnTo>
                  <a:lnTo>
                    <a:pt x="3477857" y="1477594"/>
                  </a:lnTo>
                  <a:lnTo>
                    <a:pt x="3493605" y="1435633"/>
                  </a:lnTo>
                  <a:lnTo>
                    <a:pt x="3503396" y="1391043"/>
                  </a:lnTo>
                  <a:lnTo>
                    <a:pt x="3506774" y="1344333"/>
                  </a:lnTo>
                  <a:close/>
                </a:path>
                <a:path w="3693795" h="4721860">
                  <a:moveTo>
                    <a:pt x="3508527" y="2550566"/>
                  </a:moveTo>
                  <a:lnTo>
                    <a:pt x="3505873" y="2503855"/>
                  </a:lnTo>
                  <a:lnTo>
                    <a:pt x="3498113" y="2458732"/>
                  </a:lnTo>
                  <a:lnTo>
                    <a:pt x="3485540" y="2415476"/>
                  </a:lnTo>
                  <a:lnTo>
                    <a:pt x="3468459" y="2374417"/>
                  </a:lnTo>
                  <a:lnTo>
                    <a:pt x="3447161" y="2335834"/>
                  </a:lnTo>
                  <a:lnTo>
                    <a:pt x="3421938" y="2300046"/>
                  </a:lnTo>
                  <a:lnTo>
                    <a:pt x="3393084" y="2267331"/>
                  </a:lnTo>
                  <a:lnTo>
                    <a:pt x="3360890" y="2238006"/>
                  </a:lnTo>
                  <a:lnTo>
                    <a:pt x="3325672" y="2212378"/>
                  </a:lnTo>
                  <a:lnTo>
                    <a:pt x="3287712" y="2190724"/>
                  </a:lnTo>
                  <a:lnTo>
                    <a:pt x="3247301" y="2173363"/>
                  </a:lnTo>
                  <a:lnTo>
                    <a:pt x="3204756" y="2160587"/>
                  </a:lnTo>
                  <a:lnTo>
                    <a:pt x="3160344" y="2152713"/>
                  </a:lnTo>
                  <a:lnTo>
                    <a:pt x="3114383" y="2150008"/>
                  </a:lnTo>
                  <a:lnTo>
                    <a:pt x="3068409" y="2152713"/>
                  </a:lnTo>
                  <a:lnTo>
                    <a:pt x="3024009" y="2160587"/>
                  </a:lnTo>
                  <a:lnTo>
                    <a:pt x="2981452" y="2173363"/>
                  </a:lnTo>
                  <a:lnTo>
                    <a:pt x="2941040" y="2190724"/>
                  </a:lnTo>
                  <a:lnTo>
                    <a:pt x="2903080" y="2212378"/>
                  </a:lnTo>
                  <a:lnTo>
                    <a:pt x="2867863" y="2238006"/>
                  </a:lnTo>
                  <a:lnTo>
                    <a:pt x="2835681" y="2267331"/>
                  </a:lnTo>
                  <a:lnTo>
                    <a:pt x="2806827" y="2300046"/>
                  </a:lnTo>
                  <a:lnTo>
                    <a:pt x="2781604" y="2335834"/>
                  </a:lnTo>
                  <a:lnTo>
                    <a:pt x="2760294" y="2374417"/>
                  </a:lnTo>
                  <a:lnTo>
                    <a:pt x="2743212" y="2415476"/>
                  </a:lnTo>
                  <a:lnTo>
                    <a:pt x="2730639" y="2458732"/>
                  </a:lnTo>
                  <a:lnTo>
                    <a:pt x="2722880" y="2503855"/>
                  </a:lnTo>
                  <a:lnTo>
                    <a:pt x="2720238" y="2550566"/>
                  </a:lnTo>
                  <a:lnTo>
                    <a:pt x="2722880" y="2597289"/>
                  </a:lnTo>
                  <a:lnTo>
                    <a:pt x="2730639" y="2642412"/>
                  </a:lnTo>
                  <a:lnTo>
                    <a:pt x="2743212" y="2685669"/>
                  </a:lnTo>
                  <a:lnTo>
                    <a:pt x="2760294" y="2726728"/>
                  </a:lnTo>
                  <a:lnTo>
                    <a:pt x="2781604" y="2765310"/>
                  </a:lnTo>
                  <a:lnTo>
                    <a:pt x="2806827" y="2801099"/>
                  </a:lnTo>
                  <a:lnTo>
                    <a:pt x="2835681" y="2833814"/>
                  </a:lnTo>
                  <a:lnTo>
                    <a:pt x="2867863" y="2863126"/>
                  </a:lnTo>
                  <a:lnTo>
                    <a:pt x="2903080" y="2888767"/>
                  </a:lnTo>
                  <a:lnTo>
                    <a:pt x="2941040" y="2910421"/>
                  </a:lnTo>
                  <a:lnTo>
                    <a:pt x="2981452" y="2927781"/>
                  </a:lnTo>
                  <a:lnTo>
                    <a:pt x="3024009" y="2940545"/>
                  </a:lnTo>
                  <a:lnTo>
                    <a:pt x="3068409" y="2948432"/>
                  </a:lnTo>
                  <a:lnTo>
                    <a:pt x="3114383" y="2951124"/>
                  </a:lnTo>
                  <a:lnTo>
                    <a:pt x="3160344" y="2948432"/>
                  </a:lnTo>
                  <a:lnTo>
                    <a:pt x="3204756" y="2940545"/>
                  </a:lnTo>
                  <a:lnTo>
                    <a:pt x="3247301" y="2927781"/>
                  </a:lnTo>
                  <a:lnTo>
                    <a:pt x="3287712" y="2910421"/>
                  </a:lnTo>
                  <a:lnTo>
                    <a:pt x="3325672" y="2888767"/>
                  </a:lnTo>
                  <a:lnTo>
                    <a:pt x="3360890" y="2863126"/>
                  </a:lnTo>
                  <a:lnTo>
                    <a:pt x="3393084" y="2833814"/>
                  </a:lnTo>
                  <a:lnTo>
                    <a:pt x="3421938" y="2801099"/>
                  </a:lnTo>
                  <a:lnTo>
                    <a:pt x="3447161" y="2765310"/>
                  </a:lnTo>
                  <a:lnTo>
                    <a:pt x="3468459" y="2726728"/>
                  </a:lnTo>
                  <a:lnTo>
                    <a:pt x="3485540" y="2685669"/>
                  </a:lnTo>
                  <a:lnTo>
                    <a:pt x="3498113" y="2642412"/>
                  </a:lnTo>
                  <a:lnTo>
                    <a:pt x="3505873" y="2597289"/>
                  </a:lnTo>
                  <a:lnTo>
                    <a:pt x="3508527" y="2550566"/>
                  </a:lnTo>
                  <a:close/>
                </a:path>
                <a:path w="3693795" h="4721860">
                  <a:moveTo>
                    <a:pt x="3693350" y="317944"/>
                  </a:moveTo>
                  <a:lnTo>
                    <a:pt x="3689007" y="268770"/>
                  </a:lnTo>
                  <a:lnTo>
                    <a:pt x="3676510" y="222491"/>
                  </a:lnTo>
                  <a:lnTo>
                    <a:pt x="3656596" y="179870"/>
                  </a:lnTo>
                  <a:lnTo>
                    <a:pt x="3630041" y="141693"/>
                  </a:lnTo>
                  <a:lnTo>
                    <a:pt x="3597592" y="108724"/>
                  </a:lnTo>
                  <a:lnTo>
                    <a:pt x="3560026" y="81737"/>
                  </a:lnTo>
                  <a:lnTo>
                    <a:pt x="3518090" y="61506"/>
                  </a:lnTo>
                  <a:lnTo>
                    <a:pt x="3472548" y="48793"/>
                  </a:lnTo>
                  <a:lnTo>
                    <a:pt x="3424161" y="44386"/>
                  </a:lnTo>
                  <a:lnTo>
                    <a:pt x="3375774" y="48793"/>
                  </a:lnTo>
                  <a:lnTo>
                    <a:pt x="3330232" y="61506"/>
                  </a:lnTo>
                  <a:lnTo>
                    <a:pt x="3288296" y="81737"/>
                  </a:lnTo>
                  <a:lnTo>
                    <a:pt x="3250730" y="108724"/>
                  </a:lnTo>
                  <a:lnTo>
                    <a:pt x="3218281" y="141693"/>
                  </a:lnTo>
                  <a:lnTo>
                    <a:pt x="3191726" y="179870"/>
                  </a:lnTo>
                  <a:lnTo>
                    <a:pt x="3171812" y="222491"/>
                  </a:lnTo>
                  <a:lnTo>
                    <a:pt x="3159315" y="268770"/>
                  </a:lnTo>
                  <a:lnTo>
                    <a:pt x="3154972" y="317944"/>
                  </a:lnTo>
                  <a:lnTo>
                    <a:pt x="3159315" y="367118"/>
                  </a:lnTo>
                  <a:lnTo>
                    <a:pt x="3171812" y="413397"/>
                  </a:lnTo>
                  <a:lnTo>
                    <a:pt x="3191726" y="456018"/>
                  </a:lnTo>
                  <a:lnTo>
                    <a:pt x="3218281" y="494207"/>
                  </a:lnTo>
                  <a:lnTo>
                    <a:pt x="3250730" y="527177"/>
                  </a:lnTo>
                  <a:lnTo>
                    <a:pt x="3288296" y="554164"/>
                  </a:lnTo>
                  <a:lnTo>
                    <a:pt x="3330232" y="574395"/>
                  </a:lnTo>
                  <a:lnTo>
                    <a:pt x="3375774" y="587108"/>
                  </a:lnTo>
                  <a:lnTo>
                    <a:pt x="3424161" y="591515"/>
                  </a:lnTo>
                  <a:lnTo>
                    <a:pt x="3472548" y="587108"/>
                  </a:lnTo>
                  <a:lnTo>
                    <a:pt x="3518090" y="574395"/>
                  </a:lnTo>
                  <a:lnTo>
                    <a:pt x="3560026" y="554164"/>
                  </a:lnTo>
                  <a:lnTo>
                    <a:pt x="3597592" y="527177"/>
                  </a:lnTo>
                  <a:lnTo>
                    <a:pt x="3630041" y="494207"/>
                  </a:lnTo>
                  <a:lnTo>
                    <a:pt x="3656596" y="456018"/>
                  </a:lnTo>
                  <a:lnTo>
                    <a:pt x="3676510" y="413397"/>
                  </a:lnTo>
                  <a:lnTo>
                    <a:pt x="3689007" y="367118"/>
                  </a:lnTo>
                  <a:lnTo>
                    <a:pt x="3693350" y="317944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5D0CF7AA-5EBE-7C05-F897-4819BD7C555D}"/>
                </a:ext>
              </a:extLst>
            </p:cNvPr>
            <p:cNvSpPr/>
            <p:nvPr/>
          </p:nvSpPr>
          <p:spPr>
            <a:xfrm>
              <a:off x="3624663" y="653716"/>
              <a:ext cx="714591" cy="726107"/>
            </a:xfrm>
            <a:custGeom>
              <a:avLst/>
              <a:gdLst/>
              <a:ahLst/>
              <a:cxnLst/>
              <a:rect l="l" t="t" r="r" b="b"/>
              <a:pathLst>
                <a:path w="788035" h="800735">
                  <a:moveTo>
                    <a:pt x="393953" y="0"/>
                  </a:moveTo>
                  <a:lnTo>
                    <a:pt x="348010" y="2693"/>
                  </a:lnTo>
                  <a:lnTo>
                    <a:pt x="303623" y="10573"/>
                  </a:lnTo>
                  <a:lnTo>
                    <a:pt x="261088" y="23340"/>
                  </a:lnTo>
                  <a:lnTo>
                    <a:pt x="220702" y="40693"/>
                  </a:lnTo>
                  <a:lnTo>
                    <a:pt x="182759" y="62331"/>
                  </a:lnTo>
                  <a:lnTo>
                    <a:pt x="147555" y="87955"/>
                  </a:lnTo>
                  <a:lnTo>
                    <a:pt x="115385" y="117263"/>
                  </a:lnTo>
                  <a:lnTo>
                    <a:pt x="86546" y="149956"/>
                  </a:lnTo>
                  <a:lnTo>
                    <a:pt x="61333" y="185733"/>
                  </a:lnTo>
                  <a:lnTo>
                    <a:pt x="40041" y="224294"/>
                  </a:lnTo>
                  <a:lnTo>
                    <a:pt x="22966" y="265338"/>
                  </a:lnTo>
                  <a:lnTo>
                    <a:pt x="10404" y="308566"/>
                  </a:lnTo>
                  <a:lnTo>
                    <a:pt x="2650" y="353675"/>
                  </a:lnTo>
                  <a:lnTo>
                    <a:pt x="0" y="400367"/>
                  </a:lnTo>
                  <a:lnTo>
                    <a:pt x="2650" y="447056"/>
                  </a:lnTo>
                  <a:lnTo>
                    <a:pt x="10404" y="492164"/>
                  </a:lnTo>
                  <a:lnTo>
                    <a:pt x="22966" y="535389"/>
                  </a:lnTo>
                  <a:lnTo>
                    <a:pt x="40041" y="576432"/>
                  </a:lnTo>
                  <a:lnTo>
                    <a:pt x="61333" y="614991"/>
                  </a:lnTo>
                  <a:lnTo>
                    <a:pt x="86546" y="650767"/>
                  </a:lnTo>
                  <a:lnTo>
                    <a:pt x="115385" y="683460"/>
                  </a:lnTo>
                  <a:lnTo>
                    <a:pt x="147555" y="712767"/>
                  </a:lnTo>
                  <a:lnTo>
                    <a:pt x="182759" y="738391"/>
                  </a:lnTo>
                  <a:lnTo>
                    <a:pt x="220702" y="760029"/>
                  </a:lnTo>
                  <a:lnTo>
                    <a:pt x="261088" y="777381"/>
                  </a:lnTo>
                  <a:lnTo>
                    <a:pt x="303623" y="790148"/>
                  </a:lnTo>
                  <a:lnTo>
                    <a:pt x="348010" y="798028"/>
                  </a:lnTo>
                  <a:lnTo>
                    <a:pt x="393953" y="800722"/>
                  </a:lnTo>
                  <a:lnTo>
                    <a:pt x="439897" y="798028"/>
                  </a:lnTo>
                  <a:lnTo>
                    <a:pt x="484284" y="790148"/>
                  </a:lnTo>
                  <a:lnTo>
                    <a:pt x="526819" y="777381"/>
                  </a:lnTo>
                  <a:lnTo>
                    <a:pt x="567205" y="760029"/>
                  </a:lnTo>
                  <a:lnTo>
                    <a:pt x="605148" y="738391"/>
                  </a:lnTo>
                  <a:lnTo>
                    <a:pt x="640352" y="712767"/>
                  </a:lnTo>
                  <a:lnTo>
                    <a:pt x="672522" y="683460"/>
                  </a:lnTo>
                  <a:lnTo>
                    <a:pt x="701361" y="650767"/>
                  </a:lnTo>
                  <a:lnTo>
                    <a:pt x="726574" y="614991"/>
                  </a:lnTo>
                  <a:lnTo>
                    <a:pt x="747866" y="576432"/>
                  </a:lnTo>
                  <a:lnTo>
                    <a:pt x="764941" y="535389"/>
                  </a:lnTo>
                  <a:lnTo>
                    <a:pt x="777503" y="492164"/>
                  </a:lnTo>
                  <a:lnTo>
                    <a:pt x="785257" y="447056"/>
                  </a:lnTo>
                  <a:lnTo>
                    <a:pt x="787907" y="400367"/>
                  </a:lnTo>
                  <a:lnTo>
                    <a:pt x="785257" y="353675"/>
                  </a:lnTo>
                  <a:lnTo>
                    <a:pt x="777503" y="308566"/>
                  </a:lnTo>
                  <a:lnTo>
                    <a:pt x="764941" y="265338"/>
                  </a:lnTo>
                  <a:lnTo>
                    <a:pt x="747866" y="224294"/>
                  </a:lnTo>
                  <a:lnTo>
                    <a:pt x="726574" y="185733"/>
                  </a:lnTo>
                  <a:lnTo>
                    <a:pt x="701361" y="149956"/>
                  </a:lnTo>
                  <a:lnTo>
                    <a:pt x="672522" y="117263"/>
                  </a:lnTo>
                  <a:lnTo>
                    <a:pt x="640352" y="87955"/>
                  </a:lnTo>
                  <a:lnTo>
                    <a:pt x="605148" y="62331"/>
                  </a:lnTo>
                  <a:lnTo>
                    <a:pt x="567205" y="40693"/>
                  </a:lnTo>
                  <a:lnTo>
                    <a:pt x="526819" y="23340"/>
                  </a:lnTo>
                  <a:lnTo>
                    <a:pt x="484284" y="10573"/>
                  </a:lnTo>
                  <a:lnTo>
                    <a:pt x="439897" y="2693"/>
                  </a:lnTo>
                  <a:lnTo>
                    <a:pt x="39395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5DD953B-F14D-071F-E4DD-C54031B4394C}"/>
                </a:ext>
              </a:extLst>
            </p:cNvPr>
            <p:cNvSpPr/>
            <p:nvPr/>
          </p:nvSpPr>
          <p:spPr>
            <a:xfrm>
              <a:off x="9597" y="0"/>
              <a:ext cx="210750" cy="1356629"/>
            </a:xfrm>
            <a:custGeom>
              <a:avLst/>
              <a:gdLst/>
              <a:ahLst/>
              <a:cxnLst/>
              <a:rect l="l" t="t" r="r" b="b"/>
              <a:pathLst>
                <a:path w="232410" h="1496060">
                  <a:moveTo>
                    <a:pt x="105352" y="1242277"/>
                  </a:moveTo>
                  <a:lnTo>
                    <a:pt x="0" y="1242277"/>
                  </a:lnTo>
                  <a:lnTo>
                    <a:pt x="0" y="1495642"/>
                  </a:lnTo>
                  <a:lnTo>
                    <a:pt x="105352" y="1495642"/>
                  </a:lnTo>
                  <a:lnTo>
                    <a:pt x="154663" y="1485686"/>
                  </a:lnTo>
                  <a:lnTo>
                    <a:pt x="194930" y="1458537"/>
                  </a:lnTo>
                  <a:lnTo>
                    <a:pt x="222079" y="1418269"/>
                  </a:lnTo>
                  <a:lnTo>
                    <a:pt x="232035" y="1368959"/>
                  </a:lnTo>
                  <a:lnTo>
                    <a:pt x="222079" y="1319649"/>
                  </a:lnTo>
                  <a:lnTo>
                    <a:pt x="194930" y="1279381"/>
                  </a:lnTo>
                  <a:lnTo>
                    <a:pt x="154663" y="1252232"/>
                  </a:lnTo>
                  <a:lnTo>
                    <a:pt x="105352" y="1242277"/>
                  </a:lnTo>
                  <a:close/>
                </a:path>
                <a:path w="232410" h="1496060">
                  <a:moveTo>
                    <a:pt x="4730" y="660413"/>
                  </a:moveTo>
                  <a:lnTo>
                    <a:pt x="0" y="660413"/>
                  </a:lnTo>
                  <a:lnTo>
                    <a:pt x="0" y="913778"/>
                  </a:lnTo>
                  <a:lnTo>
                    <a:pt x="4730" y="913778"/>
                  </a:lnTo>
                  <a:lnTo>
                    <a:pt x="54035" y="903821"/>
                  </a:lnTo>
                  <a:lnTo>
                    <a:pt x="94303" y="876669"/>
                  </a:lnTo>
                  <a:lnTo>
                    <a:pt x="121456" y="836401"/>
                  </a:lnTo>
                  <a:lnTo>
                    <a:pt x="131413" y="787096"/>
                  </a:lnTo>
                  <a:lnTo>
                    <a:pt x="121456" y="737786"/>
                  </a:lnTo>
                  <a:lnTo>
                    <a:pt x="94303" y="697518"/>
                  </a:lnTo>
                  <a:lnTo>
                    <a:pt x="54035" y="670369"/>
                  </a:lnTo>
                  <a:lnTo>
                    <a:pt x="4730" y="660413"/>
                  </a:lnTo>
                  <a:close/>
                </a:path>
                <a:path w="232410" h="1496060">
                  <a:moveTo>
                    <a:pt x="6762" y="0"/>
                  </a:moveTo>
                  <a:lnTo>
                    <a:pt x="0" y="0"/>
                  </a:lnTo>
                  <a:lnTo>
                    <a:pt x="0" y="6232"/>
                  </a:lnTo>
                  <a:lnTo>
                    <a:pt x="676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0789B18E-19FB-CD65-207B-43C48EBE5A69}"/>
                </a:ext>
              </a:extLst>
            </p:cNvPr>
            <p:cNvSpPr/>
            <p:nvPr/>
          </p:nvSpPr>
          <p:spPr>
            <a:xfrm>
              <a:off x="9598" y="1623705"/>
              <a:ext cx="399042" cy="229752"/>
            </a:xfrm>
            <a:custGeom>
              <a:avLst/>
              <a:gdLst/>
              <a:ahLst/>
              <a:cxnLst/>
              <a:rect l="l" t="t" r="r" b="b"/>
              <a:pathLst>
                <a:path w="440055" h="253364">
                  <a:moveTo>
                    <a:pt x="312827" y="0"/>
                  </a:moveTo>
                  <a:lnTo>
                    <a:pt x="0" y="0"/>
                  </a:lnTo>
                  <a:lnTo>
                    <a:pt x="0" y="253365"/>
                  </a:lnTo>
                  <a:lnTo>
                    <a:pt x="312827" y="253365"/>
                  </a:lnTo>
                  <a:lnTo>
                    <a:pt x="362132" y="243409"/>
                  </a:lnTo>
                  <a:lnTo>
                    <a:pt x="402400" y="216260"/>
                  </a:lnTo>
                  <a:lnTo>
                    <a:pt x="429552" y="175992"/>
                  </a:lnTo>
                  <a:lnTo>
                    <a:pt x="439510" y="126682"/>
                  </a:lnTo>
                  <a:lnTo>
                    <a:pt x="429552" y="77372"/>
                  </a:lnTo>
                  <a:lnTo>
                    <a:pt x="402400" y="37104"/>
                  </a:lnTo>
                  <a:lnTo>
                    <a:pt x="362132" y="9955"/>
                  </a:lnTo>
                  <a:lnTo>
                    <a:pt x="312827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815F2B0-E8A3-E494-B8FD-FEAD7DDF456A}"/>
                </a:ext>
              </a:extLst>
            </p:cNvPr>
            <p:cNvSpPr/>
            <p:nvPr/>
          </p:nvSpPr>
          <p:spPr>
            <a:xfrm>
              <a:off x="304371" y="530626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19">
                  <a:moveTo>
                    <a:pt x="191198" y="0"/>
                  </a:moveTo>
                  <a:lnTo>
                    <a:pt x="147361" y="5131"/>
                  </a:lnTo>
                  <a:lnTo>
                    <a:pt x="107117" y="19747"/>
                  </a:lnTo>
                  <a:lnTo>
                    <a:pt x="71617" y="42682"/>
                  </a:lnTo>
                  <a:lnTo>
                    <a:pt x="42006" y="72771"/>
                  </a:lnTo>
                  <a:lnTo>
                    <a:pt x="19435" y="108846"/>
                  </a:lnTo>
                  <a:lnTo>
                    <a:pt x="5050" y="149744"/>
                  </a:lnTo>
                  <a:lnTo>
                    <a:pt x="0" y="194297"/>
                  </a:lnTo>
                  <a:lnTo>
                    <a:pt x="5050" y="238850"/>
                  </a:lnTo>
                  <a:lnTo>
                    <a:pt x="19435" y="279750"/>
                  </a:lnTo>
                  <a:lnTo>
                    <a:pt x="42006" y="315828"/>
                  </a:lnTo>
                  <a:lnTo>
                    <a:pt x="71617" y="345919"/>
                  </a:lnTo>
                  <a:lnTo>
                    <a:pt x="107117" y="368857"/>
                  </a:lnTo>
                  <a:lnTo>
                    <a:pt x="147361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4"/>
                  </a:lnTo>
                  <a:lnTo>
                    <a:pt x="362964" y="108846"/>
                  </a:lnTo>
                  <a:lnTo>
                    <a:pt x="340394" y="72771"/>
                  </a:lnTo>
                  <a:lnTo>
                    <a:pt x="310785" y="42682"/>
                  </a:lnTo>
                  <a:lnTo>
                    <a:pt x="275284" y="19747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C1CF5157-7353-D424-0299-651CBB82B636}"/>
                </a:ext>
              </a:extLst>
            </p:cNvPr>
            <p:cNvSpPr/>
            <p:nvPr/>
          </p:nvSpPr>
          <p:spPr>
            <a:xfrm>
              <a:off x="508301" y="1080912"/>
              <a:ext cx="292516" cy="297122"/>
            </a:xfrm>
            <a:custGeom>
              <a:avLst/>
              <a:gdLst/>
              <a:ahLst/>
              <a:cxnLst/>
              <a:rect l="l" t="t" r="r" b="b"/>
              <a:pathLst>
                <a:path w="322580" h="327659">
                  <a:moveTo>
                    <a:pt x="161213" y="0"/>
                  </a:moveTo>
                  <a:lnTo>
                    <a:pt x="118355" y="5851"/>
                  </a:lnTo>
                  <a:lnTo>
                    <a:pt x="79844" y="22366"/>
                  </a:lnTo>
                  <a:lnTo>
                    <a:pt x="47217" y="47982"/>
                  </a:lnTo>
                  <a:lnTo>
                    <a:pt x="22009" y="81138"/>
                  </a:lnTo>
                  <a:lnTo>
                    <a:pt x="5758" y="120275"/>
                  </a:lnTo>
                  <a:lnTo>
                    <a:pt x="0" y="163830"/>
                  </a:lnTo>
                  <a:lnTo>
                    <a:pt x="5758" y="207380"/>
                  </a:lnTo>
                  <a:lnTo>
                    <a:pt x="22009" y="246515"/>
                  </a:lnTo>
                  <a:lnTo>
                    <a:pt x="47217" y="279673"/>
                  </a:lnTo>
                  <a:lnTo>
                    <a:pt x="79844" y="305291"/>
                  </a:lnTo>
                  <a:lnTo>
                    <a:pt x="118355" y="321807"/>
                  </a:lnTo>
                  <a:lnTo>
                    <a:pt x="161213" y="327660"/>
                  </a:lnTo>
                  <a:lnTo>
                    <a:pt x="204072" y="321807"/>
                  </a:lnTo>
                  <a:lnTo>
                    <a:pt x="242583" y="305291"/>
                  </a:lnTo>
                  <a:lnTo>
                    <a:pt x="275210" y="279673"/>
                  </a:lnTo>
                  <a:lnTo>
                    <a:pt x="300418" y="246515"/>
                  </a:lnTo>
                  <a:lnTo>
                    <a:pt x="316669" y="207380"/>
                  </a:lnTo>
                  <a:lnTo>
                    <a:pt x="322427" y="163830"/>
                  </a:lnTo>
                  <a:lnTo>
                    <a:pt x="316669" y="120275"/>
                  </a:lnTo>
                  <a:lnTo>
                    <a:pt x="300418" y="81138"/>
                  </a:lnTo>
                  <a:lnTo>
                    <a:pt x="275210" y="47982"/>
                  </a:lnTo>
                  <a:lnTo>
                    <a:pt x="242583" y="22366"/>
                  </a:lnTo>
                  <a:lnTo>
                    <a:pt x="204072" y="5851"/>
                  </a:lnTo>
                  <a:lnTo>
                    <a:pt x="16121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8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id="{A0C72F04-F457-6AB5-12E0-833F45AA60AC}"/>
              </a:ext>
            </a:extLst>
          </p:cNvPr>
          <p:cNvSpPr/>
          <p:nvPr userDrawn="1"/>
        </p:nvSpPr>
        <p:spPr>
          <a:xfrm rot="10800000">
            <a:off x="11929385" y="3918569"/>
            <a:ext cx="767112" cy="726458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12">
            <a:extLst>
              <a:ext uri="{FF2B5EF4-FFF2-40B4-BE49-F238E27FC236}">
                <a16:creationId xmlns:a16="http://schemas.microsoft.com/office/drawing/2014/main" id="{BED36AC7-786D-8EDD-B9F6-31DD1F862F88}"/>
              </a:ext>
            </a:extLst>
          </p:cNvPr>
          <p:cNvSpPr/>
          <p:nvPr userDrawn="1"/>
        </p:nvSpPr>
        <p:spPr>
          <a:xfrm rot="10800000">
            <a:off x="11955863" y="5877240"/>
            <a:ext cx="638498" cy="334035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622357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22" y="593213"/>
            <a:ext cx="8904068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FBC006D3-0A54-93B6-4CCC-16B74A7470A7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3DC9DC2C-26DF-CC61-5EF9-0D16A177B12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DE522677-B305-5913-4089-A926AF11D49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54E2F8A9-7845-E09E-8B79-723848C5AA1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FBF597C-A0FC-EE2B-C75A-6AFEBEC69750}"/>
              </a:ext>
            </a:extLst>
          </p:cNvPr>
          <p:cNvGrpSpPr/>
          <p:nvPr userDrawn="1"/>
        </p:nvGrpSpPr>
        <p:grpSpPr>
          <a:xfrm>
            <a:off x="9598" y="4391414"/>
            <a:ext cx="3729812" cy="2464571"/>
            <a:chOff x="9598" y="4391414"/>
            <a:chExt cx="3729812" cy="2464571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8FECB771-16CA-A0E5-0DFE-DEA5D2B1B8F4}"/>
                </a:ext>
              </a:extLst>
            </p:cNvPr>
            <p:cNvSpPr/>
            <p:nvPr/>
          </p:nvSpPr>
          <p:spPr>
            <a:xfrm>
              <a:off x="1102322" y="6790972"/>
              <a:ext cx="599427" cy="64492"/>
            </a:xfrm>
            <a:custGeom>
              <a:avLst/>
              <a:gdLst/>
              <a:ahLst/>
              <a:cxnLst/>
              <a:rect l="l" t="t" r="r" b="b"/>
              <a:pathLst>
                <a:path w="661035" h="71120">
                  <a:moveTo>
                    <a:pt x="547984" y="0"/>
                  </a:moveTo>
                  <a:lnTo>
                    <a:pt x="112463" y="0"/>
                  </a:lnTo>
                  <a:lnTo>
                    <a:pt x="63146" y="9955"/>
                  </a:lnTo>
                  <a:lnTo>
                    <a:pt x="22888" y="37104"/>
                  </a:lnTo>
                  <a:lnTo>
                    <a:pt x="0" y="71071"/>
                  </a:lnTo>
                  <a:lnTo>
                    <a:pt x="660448" y="71071"/>
                  </a:lnTo>
                  <a:lnTo>
                    <a:pt x="637559" y="37104"/>
                  </a:lnTo>
                  <a:lnTo>
                    <a:pt x="597301" y="9955"/>
                  </a:lnTo>
                  <a:lnTo>
                    <a:pt x="54798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D3CA8ECF-9710-8720-2CD0-DA636B54B0B5}"/>
                </a:ext>
              </a:extLst>
            </p:cNvPr>
            <p:cNvSpPr/>
            <p:nvPr/>
          </p:nvSpPr>
          <p:spPr>
            <a:xfrm>
              <a:off x="1847987" y="6161548"/>
              <a:ext cx="770445" cy="694437"/>
            </a:xfrm>
            <a:custGeom>
              <a:avLst/>
              <a:gdLst/>
              <a:ahLst/>
              <a:cxnLst/>
              <a:rect l="l" t="t" r="r" b="b"/>
              <a:pathLst>
                <a:path w="849630" h="765809">
                  <a:moveTo>
                    <a:pt x="277797" y="0"/>
                  </a:moveTo>
                  <a:lnTo>
                    <a:pt x="232138" y="10089"/>
                  </a:lnTo>
                  <a:lnTo>
                    <a:pt x="189939" y="31774"/>
                  </a:lnTo>
                  <a:lnTo>
                    <a:pt x="153625" y="64816"/>
                  </a:lnTo>
                  <a:lnTo>
                    <a:pt x="127301" y="106257"/>
                  </a:lnTo>
                  <a:lnTo>
                    <a:pt x="113256" y="151637"/>
                  </a:lnTo>
                  <a:lnTo>
                    <a:pt x="111269" y="198494"/>
                  </a:lnTo>
                  <a:lnTo>
                    <a:pt x="121117" y="244368"/>
                  </a:lnTo>
                  <a:lnTo>
                    <a:pt x="142578" y="286798"/>
                  </a:lnTo>
                  <a:lnTo>
                    <a:pt x="175431" y="323324"/>
                  </a:lnTo>
                  <a:lnTo>
                    <a:pt x="183761" y="330740"/>
                  </a:lnTo>
                  <a:lnTo>
                    <a:pt x="200872" y="347032"/>
                  </a:lnTo>
                  <a:lnTo>
                    <a:pt x="255253" y="405507"/>
                  </a:lnTo>
                  <a:lnTo>
                    <a:pt x="289431" y="447320"/>
                  </a:lnTo>
                  <a:lnTo>
                    <a:pt x="326206" y="497272"/>
                  </a:lnTo>
                  <a:lnTo>
                    <a:pt x="364033" y="555177"/>
                  </a:lnTo>
                  <a:lnTo>
                    <a:pt x="401365" y="620853"/>
                  </a:lnTo>
                  <a:lnTo>
                    <a:pt x="436657" y="694113"/>
                  </a:lnTo>
                  <a:lnTo>
                    <a:pt x="112464" y="694113"/>
                  </a:lnTo>
                  <a:lnTo>
                    <a:pt x="63147" y="704069"/>
                  </a:lnTo>
                  <a:lnTo>
                    <a:pt x="22889" y="731218"/>
                  </a:lnTo>
                  <a:lnTo>
                    <a:pt x="0" y="765186"/>
                  </a:lnTo>
                  <a:lnTo>
                    <a:pt x="849346" y="765186"/>
                  </a:lnTo>
                  <a:lnTo>
                    <a:pt x="828420" y="692250"/>
                  </a:lnTo>
                  <a:lnTo>
                    <a:pt x="808980" y="635413"/>
                  </a:lnTo>
                  <a:lnTo>
                    <a:pt x="787871" y="580991"/>
                  </a:lnTo>
                  <a:lnTo>
                    <a:pt x="765348" y="529010"/>
                  </a:lnTo>
                  <a:lnTo>
                    <a:pt x="741670" y="479497"/>
                  </a:lnTo>
                  <a:lnTo>
                    <a:pt x="717092" y="432480"/>
                  </a:lnTo>
                  <a:lnTo>
                    <a:pt x="691873" y="387985"/>
                  </a:lnTo>
                  <a:lnTo>
                    <a:pt x="666269" y="346039"/>
                  </a:lnTo>
                  <a:lnTo>
                    <a:pt x="640536" y="306670"/>
                  </a:lnTo>
                  <a:lnTo>
                    <a:pt x="614933" y="269906"/>
                  </a:lnTo>
                  <a:lnTo>
                    <a:pt x="589716" y="235772"/>
                  </a:lnTo>
                  <a:lnTo>
                    <a:pt x="565141" y="204296"/>
                  </a:lnTo>
                  <a:lnTo>
                    <a:pt x="518949" y="149427"/>
                  </a:lnTo>
                  <a:lnTo>
                    <a:pt x="478413" y="105516"/>
                  </a:lnTo>
                  <a:lnTo>
                    <a:pt x="445588" y="72781"/>
                  </a:lnTo>
                  <a:lnTo>
                    <a:pt x="411295" y="41702"/>
                  </a:lnTo>
                  <a:lnTo>
                    <a:pt x="369801" y="15566"/>
                  </a:lnTo>
                  <a:lnTo>
                    <a:pt x="324493" y="1745"/>
                  </a:lnTo>
                  <a:lnTo>
                    <a:pt x="277797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2862B2D7-BDD5-F2B2-3968-D2FDB60BD32C}"/>
                </a:ext>
              </a:extLst>
            </p:cNvPr>
            <p:cNvSpPr/>
            <p:nvPr/>
          </p:nvSpPr>
          <p:spPr>
            <a:xfrm>
              <a:off x="1441820" y="60058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2D450728-55B2-39CD-7B12-8A800D0D1A22}"/>
                </a:ext>
              </a:extLst>
            </p:cNvPr>
            <p:cNvSpPr/>
            <p:nvPr/>
          </p:nvSpPr>
          <p:spPr>
            <a:xfrm>
              <a:off x="2512448" y="5841762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14B3E2E4-7B25-7179-7814-2E18247203F3}"/>
                </a:ext>
              </a:extLst>
            </p:cNvPr>
            <p:cNvSpPr/>
            <p:nvPr/>
          </p:nvSpPr>
          <p:spPr>
            <a:xfrm>
              <a:off x="2387729" y="5241019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2CFC7019-072F-B9FC-DA69-CEFBC5ABD001}"/>
                </a:ext>
              </a:extLst>
            </p:cNvPr>
            <p:cNvSpPr/>
            <p:nvPr/>
          </p:nvSpPr>
          <p:spPr>
            <a:xfrm>
              <a:off x="1721136" y="53838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EA3EC4CC-0D07-2030-5906-D47FB104B0F3}"/>
                </a:ext>
              </a:extLst>
            </p:cNvPr>
            <p:cNvSpPr/>
            <p:nvPr/>
          </p:nvSpPr>
          <p:spPr>
            <a:xfrm>
              <a:off x="3097372" y="6327434"/>
              <a:ext cx="642038" cy="528026"/>
            </a:xfrm>
            <a:custGeom>
              <a:avLst/>
              <a:gdLst/>
              <a:ahLst/>
              <a:cxnLst/>
              <a:rect l="l" t="t" r="r" b="b"/>
              <a:pathLst>
                <a:path w="708025" h="58229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76190" y="582253"/>
                  </a:lnTo>
                  <a:lnTo>
                    <a:pt x="631605" y="582253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DB3AFB29-2CA1-6E61-DF86-C2BFC5F2BB0C}"/>
                </a:ext>
              </a:extLst>
            </p:cNvPr>
            <p:cNvSpPr/>
            <p:nvPr/>
          </p:nvSpPr>
          <p:spPr>
            <a:xfrm>
              <a:off x="1504163" y="45407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A1D57932-C3DE-E260-FEA6-803480C75E84}"/>
                </a:ext>
              </a:extLst>
            </p:cNvPr>
            <p:cNvSpPr/>
            <p:nvPr/>
          </p:nvSpPr>
          <p:spPr>
            <a:xfrm>
              <a:off x="9598" y="4391414"/>
              <a:ext cx="1292713" cy="2464504"/>
            </a:xfrm>
            <a:custGeom>
              <a:avLst/>
              <a:gdLst/>
              <a:ahLst/>
              <a:cxnLst/>
              <a:rect l="l" t="t" r="r" b="b"/>
              <a:pathLst>
                <a:path w="1425575" h="2717800">
                  <a:moveTo>
                    <a:pt x="1036905" y="1250138"/>
                  </a:moveTo>
                  <a:lnTo>
                    <a:pt x="7697" y="1250138"/>
                  </a:lnTo>
                  <a:lnTo>
                    <a:pt x="0" y="1251693"/>
                  </a:lnTo>
                  <a:lnTo>
                    <a:pt x="0" y="1501962"/>
                  </a:lnTo>
                  <a:lnTo>
                    <a:pt x="7697" y="1503516"/>
                  </a:lnTo>
                  <a:lnTo>
                    <a:pt x="990626" y="1503516"/>
                  </a:lnTo>
                  <a:lnTo>
                    <a:pt x="972652" y="1549292"/>
                  </a:lnTo>
                  <a:lnTo>
                    <a:pt x="952724" y="1595118"/>
                  </a:lnTo>
                  <a:lnTo>
                    <a:pt x="930908" y="1640986"/>
                  </a:lnTo>
                  <a:lnTo>
                    <a:pt x="907270" y="1686883"/>
                  </a:lnTo>
                  <a:lnTo>
                    <a:pt x="881874" y="1732802"/>
                  </a:lnTo>
                  <a:lnTo>
                    <a:pt x="854786" y="1778731"/>
                  </a:lnTo>
                  <a:lnTo>
                    <a:pt x="826072" y="1824661"/>
                  </a:lnTo>
                  <a:lnTo>
                    <a:pt x="63298" y="1824661"/>
                  </a:lnTo>
                  <a:lnTo>
                    <a:pt x="13987" y="1834618"/>
                  </a:lnTo>
                  <a:lnTo>
                    <a:pt x="0" y="1844050"/>
                  </a:lnTo>
                  <a:lnTo>
                    <a:pt x="0" y="2058640"/>
                  </a:lnTo>
                  <a:lnTo>
                    <a:pt x="13987" y="2068070"/>
                  </a:lnTo>
                  <a:lnTo>
                    <a:pt x="63298" y="2078026"/>
                  </a:lnTo>
                  <a:lnTo>
                    <a:pt x="641478" y="2078026"/>
                  </a:lnTo>
                  <a:lnTo>
                    <a:pt x="610598" y="2115724"/>
                  </a:lnTo>
                  <a:lnTo>
                    <a:pt x="578977" y="2153368"/>
                  </a:lnTo>
                  <a:lnTo>
                    <a:pt x="546654" y="2190951"/>
                  </a:lnTo>
                  <a:lnTo>
                    <a:pt x="513670" y="2228468"/>
                  </a:lnTo>
                  <a:lnTo>
                    <a:pt x="480063" y="2265912"/>
                  </a:lnTo>
                  <a:lnTo>
                    <a:pt x="445873" y="2303278"/>
                  </a:lnTo>
                  <a:lnTo>
                    <a:pt x="411141" y="2340559"/>
                  </a:lnTo>
                  <a:lnTo>
                    <a:pt x="375907" y="2377749"/>
                  </a:lnTo>
                  <a:lnTo>
                    <a:pt x="340209" y="2414843"/>
                  </a:lnTo>
                  <a:lnTo>
                    <a:pt x="304089" y="2451835"/>
                  </a:lnTo>
                  <a:lnTo>
                    <a:pt x="267585" y="2488718"/>
                  </a:lnTo>
                  <a:lnTo>
                    <a:pt x="230738" y="2525486"/>
                  </a:lnTo>
                  <a:lnTo>
                    <a:pt x="193588" y="2562134"/>
                  </a:lnTo>
                  <a:lnTo>
                    <a:pt x="118536" y="2635044"/>
                  </a:lnTo>
                  <a:lnTo>
                    <a:pt x="32318" y="2717250"/>
                  </a:lnTo>
                  <a:lnTo>
                    <a:pt x="559514" y="2717250"/>
                  </a:lnTo>
                  <a:lnTo>
                    <a:pt x="608152" y="2667742"/>
                  </a:lnTo>
                  <a:lnTo>
                    <a:pt x="644609" y="2629983"/>
                  </a:lnTo>
                  <a:lnTo>
                    <a:pt x="680613" y="2592122"/>
                  </a:lnTo>
                  <a:lnTo>
                    <a:pt x="716134" y="2554156"/>
                  </a:lnTo>
                  <a:lnTo>
                    <a:pt x="751143" y="2516081"/>
                  </a:lnTo>
                  <a:lnTo>
                    <a:pt x="785608" y="2477894"/>
                  </a:lnTo>
                  <a:lnTo>
                    <a:pt x="819502" y="2439592"/>
                  </a:lnTo>
                  <a:lnTo>
                    <a:pt x="852793" y="2401172"/>
                  </a:lnTo>
                  <a:lnTo>
                    <a:pt x="885453" y="2362631"/>
                  </a:lnTo>
                  <a:lnTo>
                    <a:pt x="917450" y="2323966"/>
                  </a:lnTo>
                  <a:lnTo>
                    <a:pt x="948756" y="2285174"/>
                  </a:lnTo>
                  <a:lnTo>
                    <a:pt x="979341" y="2246251"/>
                  </a:lnTo>
                  <a:lnTo>
                    <a:pt x="1009174" y="2207195"/>
                  </a:lnTo>
                  <a:lnTo>
                    <a:pt x="1038226" y="2168003"/>
                  </a:lnTo>
                  <a:lnTo>
                    <a:pt x="1066467" y="2128671"/>
                  </a:lnTo>
                  <a:lnTo>
                    <a:pt x="1093868" y="2089196"/>
                  </a:lnTo>
                  <a:lnTo>
                    <a:pt x="1120397" y="2049575"/>
                  </a:lnTo>
                  <a:lnTo>
                    <a:pt x="1146027" y="2009806"/>
                  </a:lnTo>
                  <a:lnTo>
                    <a:pt x="1170726" y="1969884"/>
                  </a:lnTo>
                  <a:lnTo>
                    <a:pt x="1194466" y="1929807"/>
                  </a:lnTo>
                  <a:lnTo>
                    <a:pt x="1217215" y="1889572"/>
                  </a:lnTo>
                  <a:lnTo>
                    <a:pt x="1238945" y="1849176"/>
                  </a:lnTo>
                  <a:lnTo>
                    <a:pt x="1259625" y="1808615"/>
                  </a:lnTo>
                  <a:lnTo>
                    <a:pt x="1279226" y="1767887"/>
                  </a:lnTo>
                  <a:lnTo>
                    <a:pt x="1297718" y="1726988"/>
                  </a:lnTo>
                  <a:lnTo>
                    <a:pt x="1315070" y="1685916"/>
                  </a:lnTo>
                  <a:lnTo>
                    <a:pt x="1331255" y="1644667"/>
                  </a:lnTo>
                  <a:lnTo>
                    <a:pt x="1346240" y="1603237"/>
                  </a:lnTo>
                  <a:lnTo>
                    <a:pt x="1359997" y="1561625"/>
                  </a:lnTo>
                  <a:lnTo>
                    <a:pt x="1372496" y="1519827"/>
                  </a:lnTo>
                  <a:lnTo>
                    <a:pt x="1383707" y="1477840"/>
                  </a:lnTo>
                  <a:lnTo>
                    <a:pt x="1393600" y="1435660"/>
                  </a:lnTo>
                  <a:lnTo>
                    <a:pt x="1402145" y="1393285"/>
                  </a:lnTo>
                  <a:lnTo>
                    <a:pt x="1409313" y="1350711"/>
                  </a:lnTo>
                  <a:lnTo>
                    <a:pt x="1415073" y="1307936"/>
                  </a:lnTo>
                  <a:lnTo>
                    <a:pt x="1420217" y="1252323"/>
                  </a:lnTo>
                  <a:lnTo>
                    <a:pt x="1051129" y="1252323"/>
                  </a:lnTo>
                  <a:lnTo>
                    <a:pt x="1044068" y="1251103"/>
                  </a:lnTo>
                  <a:lnTo>
                    <a:pt x="1036905" y="1250138"/>
                  </a:lnTo>
                  <a:close/>
                </a:path>
                <a:path w="1425575" h="2717800">
                  <a:moveTo>
                    <a:pt x="807014" y="0"/>
                  </a:moveTo>
                  <a:lnTo>
                    <a:pt x="761364" y="10091"/>
                  </a:lnTo>
                  <a:lnTo>
                    <a:pt x="719176" y="31783"/>
                  </a:lnTo>
                  <a:lnTo>
                    <a:pt x="682867" y="64835"/>
                  </a:lnTo>
                  <a:lnTo>
                    <a:pt x="656535" y="106276"/>
                  </a:lnTo>
                  <a:lnTo>
                    <a:pt x="642490" y="151656"/>
                  </a:lnTo>
                  <a:lnTo>
                    <a:pt x="640506" y="198513"/>
                  </a:lnTo>
                  <a:lnTo>
                    <a:pt x="650359" y="244387"/>
                  </a:lnTo>
                  <a:lnTo>
                    <a:pt x="671823" y="286817"/>
                  </a:lnTo>
                  <a:lnTo>
                    <a:pt x="704673" y="323343"/>
                  </a:lnTo>
                  <a:lnTo>
                    <a:pt x="713003" y="330759"/>
                  </a:lnTo>
                  <a:lnTo>
                    <a:pt x="730114" y="347051"/>
                  </a:lnTo>
                  <a:lnTo>
                    <a:pt x="784494" y="405526"/>
                  </a:lnTo>
                  <a:lnTo>
                    <a:pt x="818671" y="447339"/>
                  </a:lnTo>
                  <a:lnTo>
                    <a:pt x="855445" y="497291"/>
                  </a:lnTo>
                  <a:lnTo>
                    <a:pt x="893269" y="555196"/>
                  </a:lnTo>
                  <a:lnTo>
                    <a:pt x="930598" y="620872"/>
                  </a:lnTo>
                  <a:lnTo>
                    <a:pt x="965887" y="694132"/>
                  </a:lnTo>
                  <a:lnTo>
                    <a:pt x="394272" y="694132"/>
                  </a:lnTo>
                  <a:lnTo>
                    <a:pt x="344967" y="704088"/>
                  </a:lnTo>
                  <a:lnTo>
                    <a:pt x="304699" y="731237"/>
                  </a:lnTo>
                  <a:lnTo>
                    <a:pt x="277547" y="771504"/>
                  </a:lnTo>
                  <a:lnTo>
                    <a:pt x="267590" y="820815"/>
                  </a:lnTo>
                  <a:lnTo>
                    <a:pt x="277547" y="870120"/>
                  </a:lnTo>
                  <a:lnTo>
                    <a:pt x="304699" y="910388"/>
                  </a:lnTo>
                  <a:lnTo>
                    <a:pt x="344967" y="937540"/>
                  </a:lnTo>
                  <a:lnTo>
                    <a:pt x="394272" y="947497"/>
                  </a:lnTo>
                  <a:lnTo>
                    <a:pt x="1042074" y="947497"/>
                  </a:lnTo>
                  <a:lnTo>
                    <a:pt x="1049074" y="994539"/>
                  </a:lnTo>
                  <a:lnTo>
                    <a:pt x="1054093" y="1043098"/>
                  </a:lnTo>
                  <a:lnTo>
                    <a:pt x="1056969" y="1093166"/>
                  </a:lnTo>
                  <a:lnTo>
                    <a:pt x="1057542" y="1144733"/>
                  </a:lnTo>
                  <a:lnTo>
                    <a:pt x="1055648" y="1197788"/>
                  </a:lnTo>
                  <a:lnTo>
                    <a:pt x="1051129" y="1252323"/>
                  </a:lnTo>
                  <a:lnTo>
                    <a:pt x="1420217" y="1252323"/>
                  </a:lnTo>
                  <a:lnTo>
                    <a:pt x="1422226" y="1230596"/>
                  </a:lnTo>
                  <a:lnTo>
                    <a:pt x="1425397" y="1155425"/>
                  </a:lnTo>
                  <a:lnTo>
                    <a:pt x="1424842" y="1082452"/>
                  </a:lnTo>
                  <a:lnTo>
                    <a:pt x="1420819" y="1011702"/>
                  </a:lnTo>
                  <a:lnTo>
                    <a:pt x="1413584" y="943204"/>
                  </a:lnTo>
                  <a:lnTo>
                    <a:pt x="1403395" y="876984"/>
                  </a:lnTo>
                  <a:lnTo>
                    <a:pt x="1390507" y="813069"/>
                  </a:lnTo>
                  <a:lnTo>
                    <a:pt x="1375179" y="751487"/>
                  </a:lnTo>
                  <a:lnTo>
                    <a:pt x="1357668" y="692264"/>
                  </a:lnTo>
                  <a:lnTo>
                    <a:pt x="1338229" y="635429"/>
                  </a:lnTo>
                  <a:lnTo>
                    <a:pt x="1317120" y="581007"/>
                  </a:lnTo>
                  <a:lnTo>
                    <a:pt x="1294599" y="529026"/>
                  </a:lnTo>
                  <a:lnTo>
                    <a:pt x="1270922" y="479514"/>
                  </a:lnTo>
                  <a:lnTo>
                    <a:pt x="1246346" y="432497"/>
                  </a:lnTo>
                  <a:lnTo>
                    <a:pt x="1221128" y="388002"/>
                  </a:lnTo>
                  <a:lnTo>
                    <a:pt x="1195525" y="346057"/>
                  </a:lnTo>
                  <a:lnTo>
                    <a:pt x="1169794" y="306688"/>
                  </a:lnTo>
                  <a:lnTo>
                    <a:pt x="1144192" y="269924"/>
                  </a:lnTo>
                  <a:lnTo>
                    <a:pt x="1118976" y="235790"/>
                  </a:lnTo>
                  <a:lnTo>
                    <a:pt x="1094403" y="204314"/>
                  </a:lnTo>
                  <a:lnTo>
                    <a:pt x="1048213" y="149446"/>
                  </a:lnTo>
                  <a:lnTo>
                    <a:pt x="1007678" y="105535"/>
                  </a:lnTo>
                  <a:lnTo>
                    <a:pt x="974854" y="72800"/>
                  </a:lnTo>
                  <a:lnTo>
                    <a:pt x="944574" y="45123"/>
                  </a:lnTo>
                  <a:lnTo>
                    <a:pt x="899031" y="15575"/>
                  </a:lnTo>
                  <a:lnTo>
                    <a:pt x="853709" y="1748"/>
                  </a:lnTo>
                  <a:lnTo>
                    <a:pt x="80701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0962" y="1882771"/>
            <a:ext cx="9449837" cy="365443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243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0724100" y="6405519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46163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20B4B95D-64D5-9E5B-BAC5-0B7670771DF2}"/>
              </a:ext>
            </a:extLst>
          </p:cNvPr>
          <p:cNvSpPr/>
          <p:nvPr userDrawn="1"/>
        </p:nvSpPr>
        <p:spPr>
          <a:xfrm>
            <a:off x="9598" y="0"/>
            <a:ext cx="3603472" cy="4812692"/>
          </a:xfrm>
          <a:custGeom>
            <a:avLst/>
            <a:gdLst/>
            <a:ahLst/>
            <a:cxnLst/>
            <a:rect l="l" t="t" r="r" b="b"/>
            <a:pathLst>
              <a:path w="3973829" h="5307330">
                <a:moveTo>
                  <a:pt x="71374" y="1940839"/>
                </a:moveTo>
                <a:lnTo>
                  <a:pt x="65620" y="1897291"/>
                </a:lnTo>
                <a:lnTo>
                  <a:pt x="49364" y="1858149"/>
                </a:lnTo>
                <a:lnTo>
                  <a:pt x="24168" y="1824990"/>
                </a:lnTo>
                <a:lnTo>
                  <a:pt x="0" y="1806016"/>
                </a:lnTo>
                <a:lnTo>
                  <a:pt x="0" y="2075662"/>
                </a:lnTo>
                <a:lnTo>
                  <a:pt x="24168" y="2056688"/>
                </a:lnTo>
                <a:lnTo>
                  <a:pt x="49364" y="2023529"/>
                </a:lnTo>
                <a:lnTo>
                  <a:pt x="65620" y="1984387"/>
                </a:lnTo>
                <a:lnTo>
                  <a:pt x="71374" y="1940839"/>
                </a:lnTo>
                <a:close/>
              </a:path>
              <a:path w="3973829" h="5307330">
                <a:moveTo>
                  <a:pt x="184327" y="5114302"/>
                </a:moveTo>
                <a:lnTo>
                  <a:pt x="176174" y="5068062"/>
                </a:lnTo>
                <a:lnTo>
                  <a:pt x="156235" y="5024856"/>
                </a:lnTo>
                <a:lnTo>
                  <a:pt x="124650" y="4987137"/>
                </a:lnTo>
                <a:lnTo>
                  <a:pt x="116395" y="4979378"/>
                </a:lnTo>
                <a:lnTo>
                  <a:pt x="100291" y="4963541"/>
                </a:lnTo>
                <a:lnTo>
                  <a:pt x="77470" y="4939919"/>
                </a:lnTo>
                <a:lnTo>
                  <a:pt x="49022" y="4908791"/>
                </a:lnTo>
                <a:lnTo>
                  <a:pt x="16103" y="4870462"/>
                </a:lnTo>
                <a:lnTo>
                  <a:pt x="0" y="4850384"/>
                </a:lnTo>
                <a:lnTo>
                  <a:pt x="0" y="5306657"/>
                </a:lnTo>
                <a:lnTo>
                  <a:pt x="38061" y="5302923"/>
                </a:lnTo>
                <a:lnTo>
                  <a:pt x="107365" y="5272710"/>
                </a:lnTo>
                <a:lnTo>
                  <a:pt x="136918" y="5246446"/>
                </a:lnTo>
                <a:lnTo>
                  <a:pt x="164833" y="5205958"/>
                </a:lnTo>
                <a:lnTo>
                  <a:pt x="180594" y="5161089"/>
                </a:lnTo>
                <a:lnTo>
                  <a:pt x="184327" y="5114302"/>
                </a:lnTo>
                <a:close/>
              </a:path>
              <a:path w="3973829" h="5307330">
                <a:moveTo>
                  <a:pt x="293878" y="645617"/>
                </a:moveTo>
                <a:lnTo>
                  <a:pt x="285864" y="595109"/>
                </a:lnTo>
                <a:lnTo>
                  <a:pt x="263537" y="551243"/>
                </a:lnTo>
                <a:lnTo>
                  <a:pt x="229501" y="516661"/>
                </a:lnTo>
                <a:lnTo>
                  <a:pt x="186334" y="493979"/>
                </a:lnTo>
                <a:lnTo>
                  <a:pt x="136639" y="485825"/>
                </a:lnTo>
                <a:lnTo>
                  <a:pt x="86944" y="493979"/>
                </a:lnTo>
                <a:lnTo>
                  <a:pt x="43776" y="516661"/>
                </a:lnTo>
                <a:lnTo>
                  <a:pt x="9740" y="551243"/>
                </a:lnTo>
                <a:lnTo>
                  <a:pt x="0" y="570395"/>
                </a:lnTo>
                <a:lnTo>
                  <a:pt x="0" y="720839"/>
                </a:lnTo>
                <a:lnTo>
                  <a:pt x="9740" y="739990"/>
                </a:lnTo>
                <a:lnTo>
                  <a:pt x="43776" y="774585"/>
                </a:lnTo>
                <a:lnTo>
                  <a:pt x="86944" y="797267"/>
                </a:lnTo>
                <a:lnTo>
                  <a:pt x="136639" y="805408"/>
                </a:lnTo>
                <a:lnTo>
                  <a:pt x="186334" y="797267"/>
                </a:lnTo>
                <a:lnTo>
                  <a:pt x="229501" y="774585"/>
                </a:lnTo>
                <a:lnTo>
                  <a:pt x="263537" y="739990"/>
                </a:lnTo>
                <a:lnTo>
                  <a:pt x="285864" y="696125"/>
                </a:lnTo>
                <a:lnTo>
                  <a:pt x="293878" y="645617"/>
                </a:lnTo>
                <a:close/>
              </a:path>
              <a:path w="3973829" h="5307330">
                <a:moveTo>
                  <a:pt x="503135" y="1213459"/>
                </a:moveTo>
                <a:lnTo>
                  <a:pt x="498081" y="1168908"/>
                </a:lnTo>
                <a:lnTo>
                  <a:pt x="483692" y="1128014"/>
                </a:lnTo>
                <a:lnTo>
                  <a:pt x="461124" y="1091933"/>
                </a:lnTo>
                <a:lnTo>
                  <a:pt x="431520" y="1061834"/>
                </a:lnTo>
                <a:lnTo>
                  <a:pt x="396011" y="1038898"/>
                </a:lnTo>
                <a:lnTo>
                  <a:pt x="355777" y="1024280"/>
                </a:lnTo>
                <a:lnTo>
                  <a:pt x="311937" y="1019149"/>
                </a:lnTo>
                <a:lnTo>
                  <a:pt x="268097" y="1024280"/>
                </a:lnTo>
                <a:lnTo>
                  <a:pt x="227850" y="1038898"/>
                </a:lnTo>
                <a:lnTo>
                  <a:pt x="192354" y="1061834"/>
                </a:lnTo>
                <a:lnTo>
                  <a:pt x="162737" y="1091933"/>
                </a:lnTo>
                <a:lnTo>
                  <a:pt x="140169" y="1128014"/>
                </a:lnTo>
                <a:lnTo>
                  <a:pt x="125780" y="1168908"/>
                </a:lnTo>
                <a:lnTo>
                  <a:pt x="120738" y="1213459"/>
                </a:lnTo>
                <a:lnTo>
                  <a:pt x="125780" y="1258011"/>
                </a:lnTo>
                <a:lnTo>
                  <a:pt x="140169" y="1298917"/>
                </a:lnTo>
                <a:lnTo>
                  <a:pt x="162737" y="1334985"/>
                </a:lnTo>
                <a:lnTo>
                  <a:pt x="192354" y="1365084"/>
                </a:lnTo>
                <a:lnTo>
                  <a:pt x="227850" y="1388021"/>
                </a:lnTo>
                <a:lnTo>
                  <a:pt x="268097" y="1402638"/>
                </a:lnTo>
                <a:lnTo>
                  <a:pt x="311937" y="1407769"/>
                </a:lnTo>
                <a:lnTo>
                  <a:pt x="355777" y="1402638"/>
                </a:lnTo>
                <a:lnTo>
                  <a:pt x="396011" y="1388021"/>
                </a:lnTo>
                <a:lnTo>
                  <a:pt x="431520" y="1365084"/>
                </a:lnTo>
                <a:lnTo>
                  <a:pt x="461124" y="1334985"/>
                </a:lnTo>
                <a:lnTo>
                  <a:pt x="483692" y="1298917"/>
                </a:lnTo>
                <a:lnTo>
                  <a:pt x="498081" y="1258011"/>
                </a:lnTo>
                <a:lnTo>
                  <a:pt x="503135" y="1213459"/>
                </a:lnTo>
                <a:close/>
              </a:path>
              <a:path w="3973829" h="5307330">
                <a:moveTo>
                  <a:pt x="545719" y="4454322"/>
                </a:moveTo>
                <a:lnTo>
                  <a:pt x="535774" y="4405007"/>
                </a:lnTo>
                <a:lnTo>
                  <a:pt x="508635" y="4364736"/>
                </a:lnTo>
                <a:lnTo>
                  <a:pt x="468376" y="4337596"/>
                </a:lnTo>
                <a:lnTo>
                  <a:pt x="419061" y="4327639"/>
                </a:lnTo>
                <a:lnTo>
                  <a:pt x="0" y="4327639"/>
                </a:lnTo>
                <a:lnTo>
                  <a:pt x="0" y="4581004"/>
                </a:lnTo>
                <a:lnTo>
                  <a:pt x="419061" y="4581004"/>
                </a:lnTo>
                <a:lnTo>
                  <a:pt x="468376" y="4571047"/>
                </a:lnTo>
                <a:lnTo>
                  <a:pt x="508635" y="4543895"/>
                </a:lnTo>
                <a:lnTo>
                  <a:pt x="535774" y="4503623"/>
                </a:lnTo>
                <a:lnTo>
                  <a:pt x="545719" y="4454322"/>
                </a:lnTo>
                <a:close/>
              </a:path>
              <a:path w="3973829" h="5307330">
                <a:moveTo>
                  <a:pt x="929068" y="3906012"/>
                </a:moveTo>
                <a:lnTo>
                  <a:pt x="919124" y="3856710"/>
                </a:lnTo>
                <a:lnTo>
                  <a:pt x="891984" y="3816439"/>
                </a:lnTo>
                <a:lnTo>
                  <a:pt x="851725" y="3789286"/>
                </a:lnTo>
                <a:lnTo>
                  <a:pt x="802411" y="3779329"/>
                </a:lnTo>
                <a:lnTo>
                  <a:pt x="0" y="3779329"/>
                </a:lnTo>
                <a:lnTo>
                  <a:pt x="0" y="4032694"/>
                </a:lnTo>
                <a:lnTo>
                  <a:pt x="802411" y="4032694"/>
                </a:lnTo>
                <a:lnTo>
                  <a:pt x="851725" y="4022737"/>
                </a:lnTo>
                <a:lnTo>
                  <a:pt x="891984" y="3995585"/>
                </a:lnTo>
                <a:lnTo>
                  <a:pt x="919124" y="3955326"/>
                </a:lnTo>
                <a:lnTo>
                  <a:pt x="929068" y="3906012"/>
                </a:lnTo>
                <a:close/>
              </a:path>
              <a:path w="3973829" h="5307330">
                <a:moveTo>
                  <a:pt x="1123670" y="73621"/>
                </a:moveTo>
                <a:lnTo>
                  <a:pt x="1113713" y="24307"/>
                </a:lnTo>
                <a:lnTo>
                  <a:pt x="1097343" y="0"/>
                </a:lnTo>
                <a:lnTo>
                  <a:pt x="461149" y="0"/>
                </a:lnTo>
                <a:lnTo>
                  <a:pt x="444779" y="24307"/>
                </a:lnTo>
                <a:lnTo>
                  <a:pt x="434835" y="73621"/>
                </a:lnTo>
                <a:lnTo>
                  <a:pt x="444779" y="122936"/>
                </a:lnTo>
                <a:lnTo>
                  <a:pt x="471906" y="163195"/>
                </a:lnTo>
                <a:lnTo>
                  <a:pt x="512165" y="190347"/>
                </a:lnTo>
                <a:lnTo>
                  <a:pt x="561492" y="200304"/>
                </a:lnTo>
                <a:lnTo>
                  <a:pt x="997013" y="200304"/>
                </a:lnTo>
                <a:lnTo>
                  <a:pt x="1046327" y="190347"/>
                </a:lnTo>
                <a:lnTo>
                  <a:pt x="1086586" y="163195"/>
                </a:lnTo>
                <a:lnTo>
                  <a:pt x="1113713" y="122936"/>
                </a:lnTo>
                <a:lnTo>
                  <a:pt x="1123670" y="73621"/>
                </a:lnTo>
                <a:close/>
              </a:path>
              <a:path w="3973829" h="5307330">
                <a:moveTo>
                  <a:pt x="1418945" y="3321431"/>
                </a:moveTo>
                <a:lnTo>
                  <a:pt x="1413903" y="3276879"/>
                </a:lnTo>
                <a:lnTo>
                  <a:pt x="1399514" y="3235972"/>
                </a:lnTo>
                <a:lnTo>
                  <a:pt x="1376946" y="3199904"/>
                </a:lnTo>
                <a:lnTo>
                  <a:pt x="1347343" y="3169805"/>
                </a:lnTo>
                <a:lnTo>
                  <a:pt x="1311833" y="3146869"/>
                </a:lnTo>
                <a:lnTo>
                  <a:pt x="1271587" y="3132251"/>
                </a:lnTo>
                <a:lnTo>
                  <a:pt x="1227747" y="3127121"/>
                </a:lnTo>
                <a:lnTo>
                  <a:pt x="1183906" y="3132251"/>
                </a:lnTo>
                <a:lnTo>
                  <a:pt x="1143660" y="3146869"/>
                </a:lnTo>
                <a:lnTo>
                  <a:pt x="1108163" y="3169805"/>
                </a:lnTo>
                <a:lnTo>
                  <a:pt x="1078560" y="3199904"/>
                </a:lnTo>
                <a:lnTo>
                  <a:pt x="1055979" y="3235972"/>
                </a:lnTo>
                <a:lnTo>
                  <a:pt x="1041603" y="3276879"/>
                </a:lnTo>
                <a:lnTo>
                  <a:pt x="1036548" y="3321431"/>
                </a:lnTo>
                <a:lnTo>
                  <a:pt x="1041603" y="3365982"/>
                </a:lnTo>
                <a:lnTo>
                  <a:pt x="1055979" y="3406876"/>
                </a:lnTo>
                <a:lnTo>
                  <a:pt x="1078560" y="3442957"/>
                </a:lnTo>
                <a:lnTo>
                  <a:pt x="1108163" y="3473056"/>
                </a:lnTo>
                <a:lnTo>
                  <a:pt x="1143660" y="3495992"/>
                </a:lnTo>
                <a:lnTo>
                  <a:pt x="1183906" y="3510610"/>
                </a:lnTo>
                <a:lnTo>
                  <a:pt x="1227747" y="3515741"/>
                </a:lnTo>
                <a:lnTo>
                  <a:pt x="1271587" y="3510610"/>
                </a:lnTo>
                <a:lnTo>
                  <a:pt x="1311833" y="3495992"/>
                </a:lnTo>
                <a:lnTo>
                  <a:pt x="1347343" y="3473056"/>
                </a:lnTo>
                <a:lnTo>
                  <a:pt x="1376946" y="3442957"/>
                </a:lnTo>
                <a:lnTo>
                  <a:pt x="1399514" y="3406876"/>
                </a:lnTo>
                <a:lnTo>
                  <a:pt x="1413903" y="3365982"/>
                </a:lnTo>
                <a:lnTo>
                  <a:pt x="1418945" y="3321431"/>
                </a:lnTo>
                <a:close/>
              </a:path>
              <a:path w="3973829" h="5307330">
                <a:moveTo>
                  <a:pt x="1624139" y="3898176"/>
                </a:moveTo>
                <a:lnTo>
                  <a:pt x="1619084" y="3853624"/>
                </a:lnTo>
                <a:lnTo>
                  <a:pt x="1604708" y="3812730"/>
                </a:lnTo>
                <a:lnTo>
                  <a:pt x="1582140" y="3776649"/>
                </a:lnTo>
                <a:lnTo>
                  <a:pt x="1552524" y="3746550"/>
                </a:lnTo>
                <a:lnTo>
                  <a:pt x="1517027" y="3723614"/>
                </a:lnTo>
                <a:lnTo>
                  <a:pt x="1476781" y="3708997"/>
                </a:lnTo>
                <a:lnTo>
                  <a:pt x="1432941" y="3703866"/>
                </a:lnTo>
                <a:lnTo>
                  <a:pt x="1389100" y="3708997"/>
                </a:lnTo>
                <a:lnTo>
                  <a:pt x="1348854" y="3723614"/>
                </a:lnTo>
                <a:lnTo>
                  <a:pt x="1313357" y="3746550"/>
                </a:lnTo>
                <a:lnTo>
                  <a:pt x="1283741" y="3776649"/>
                </a:lnTo>
                <a:lnTo>
                  <a:pt x="1261173" y="3812730"/>
                </a:lnTo>
                <a:lnTo>
                  <a:pt x="1246784" y="3853624"/>
                </a:lnTo>
                <a:lnTo>
                  <a:pt x="1241742" y="3898176"/>
                </a:lnTo>
                <a:lnTo>
                  <a:pt x="1246784" y="3942727"/>
                </a:lnTo>
                <a:lnTo>
                  <a:pt x="1261173" y="3983634"/>
                </a:lnTo>
                <a:lnTo>
                  <a:pt x="1283741" y="4019702"/>
                </a:lnTo>
                <a:lnTo>
                  <a:pt x="1313357" y="4049801"/>
                </a:lnTo>
                <a:lnTo>
                  <a:pt x="1348854" y="4072737"/>
                </a:lnTo>
                <a:lnTo>
                  <a:pt x="1389100" y="4087355"/>
                </a:lnTo>
                <a:lnTo>
                  <a:pt x="1432941" y="4092486"/>
                </a:lnTo>
                <a:lnTo>
                  <a:pt x="1476781" y="4087355"/>
                </a:lnTo>
                <a:lnTo>
                  <a:pt x="1517027" y="4072737"/>
                </a:lnTo>
                <a:lnTo>
                  <a:pt x="1552524" y="4049801"/>
                </a:lnTo>
                <a:lnTo>
                  <a:pt x="1582140" y="4019702"/>
                </a:lnTo>
                <a:lnTo>
                  <a:pt x="1604708" y="3983634"/>
                </a:lnTo>
                <a:lnTo>
                  <a:pt x="1619084" y="3942727"/>
                </a:lnTo>
                <a:lnTo>
                  <a:pt x="1624139" y="3898176"/>
                </a:lnTo>
                <a:close/>
              </a:path>
              <a:path w="3973829" h="5307330">
                <a:moveTo>
                  <a:pt x="1860181" y="2541765"/>
                </a:moveTo>
                <a:lnTo>
                  <a:pt x="1856193" y="2496591"/>
                </a:lnTo>
                <a:lnTo>
                  <a:pt x="1844713" y="2454059"/>
                </a:lnTo>
                <a:lnTo>
                  <a:pt x="1826412" y="2414905"/>
                </a:lnTo>
                <a:lnTo>
                  <a:pt x="1802015" y="2379827"/>
                </a:lnTo>
                <a:lnTo>
                  <a:pt x="1772208" y="2349538"/>
                </a:lnTo>
                <a:lnTo>
                  <a:pt x="1737690" y="2324735"/>
                </a:lnTo>
                <a:lnTo>
                  <a:pt x="1699158" y="2306142"/>
                </a:lnTo>
                <a:lnTo>
                  <a:pt x="1657324" y="2294471"/>
                </a:lnTo>
                <a:lnTo>
                  <a:pt x="1612861" y="2290419"/>
                </a:lnTo>
                <a:lnTo>
                  <a:pt x="1568411" y="2294471"/>
                </a:lnTo>
                <a:lnTo>
                  <a:pt x="1526565" y="2306142"/>
                </a:lnTo>
                <a:lnTo>
                  <a:pt x="1488033" y="2324735"/>
                </a:lnTo>
                <a:lnTo>
                  <a:pt x="1453515" y="2349538"/>
                </a:lnTo>
                <a:lnTo>
                  <a:pt x="1423708" y="2379827"/>
                </a:lnTo>
                <a:lnTo>
                  <a:pt x="1399311" y="2414905"/>
                </a:lnTo>
                <a:lnTo>
                  <a:pt x="1381023" y="2454059"/>
                </a:lnTo>
                <a:lnTo>
                  <a:pt x="1369529" y="2496591"/>
                </a:lnTo>
                <a:lnTo>
                  <a:pt x="1365542" y="2541765"/>
                </a:lnTo>
                <a:lnTo>
                  <a:pt x="1369529" y="2586939"/>
                </a:lnTo>
                <a:lnTo>
                  <a:pt x="1381023" y="2629471"/>
                </a:lnTo>
                <a:lnTo>
                  <a:pt x="1399311" y="2668625"/>
                </a:lnTo>
                <a:lnTo>
                  <a:pt x="1423708" y="2703703"/>
                </a:lnTo>
                <a:lnTo>
                  <a:pt x="1453515" y="2733992"/>
                </a:lnTo>
                <a:lnTo>
                  <a:pt x="1488033" y="2758795"/>
                </a:lnTo>
                <a:lnTo>
                  <a:pt x="1526565" y="2777388"/>
                </a:lnTo>
                <a:lnTo>
                  <a:pt x="1568411" y="2789059"/>
                </a:lnTo>
                <a:lnTo>
                  <a:pt x="1612861" y="2793111"/>
                </a:lnTo>
                <a:lnTo>
                  <a:pt x="1657324" y="2789059"/>
                </a:lnTo>
                <a:lnTo>
                  <a:pt x="1699158" y="2777388"/>
                </a:lnTo>
                <a:lnTo>
                  <a:pt x="1737690" y="2758795"/>
                </a:lnTo>
                <a:lnTo>
                  <a:pt x="1772208" y="2733992"/>
                </a:lnTo>
                <a:lnTo>
                  <a:pt x="1802015" y="2703703"/>
                </a:lnTo>
                <a:lnTo>
                  <a:pt x="1826412" y="2668625"/>
                </a:lnTo>
                <a:lnTo>
                  <a:pt x="1844713" y="2629471"/>
                </a:lnTo>
                <a:lnTo>
                  <a:pt x="1856193" y="2586939"/>
                </a:lnTo>
                <a:lnTo>
                  <a:pt x="1860181" y="2541765"/>
                </a:lnTo>
                <a:close/>
              </a:path>
              <a:path w="3973829" h="5307330">
                <a:moveTo>
                  <a:pt x="2167483" y="408241"/>
                </a:moveTo>
                <a:lnTo>
                  <a:pt x="2166924" y="335267"/>
                </a:lnTo>
                <a:lnTo>
                  <a:pt x="2162899" y="264515"/>
                </a:lnTo>
                <a:lnTo>
                  <a:pt x="2155672" y="196011"/>
                </a:lnTo>
                <a:lnTo>
                  <a:pt x="2145474" y="129794"/>
                </a:lnTo>
                <a:lnTo>
                  <a:pt x="2132596" y="65874"/>
                </a:lnTo>
                <a:lnTo>
                  <a:pt x="2117267" y="4292"/>
                </a:lnTo>
                <a:lnTo>
                  <a:pt x="2115997" y="12"/>
                </a:lnTo>
                <a:lnTo>
                  <a:pt x="1283462" y="12"/>
                </a:lnTo>
                <a:lnTo>
                  <a:pt x="1267079" y="24307"/>
                </a:lnTo>
                <a:lnTo>
                  <a:pt x="1257134" y="73621"/>
                </a:lnTo>
                <a:lnTo>
                  <a:pt x="1267079" y="122936"/>
                </a:lnTo>
                <a:lnTo>
                  <a:pt x="1294218" y="163195"/>
                </a:lnTo>
                <a:lnTo>
                  <a:pt x="1334477" y="190347"/>
                </a:lnTo>
                <a:lnTo>
                  <a:pt x="1383792" y="200304"/>
                </a:lnTo>
                <a:lnTo>
                  <a:pt x="1784172" y="200304"/>
                </a:lnTo>
                <a:lnTo>
                  <a:pt x="1791182" y="247345"/>
                </a:lnTo>
                <a:lnTo>
                  <a:pt x="1796199" y="295897"/>
                </a:lnTo>
                <a:lnTo>
                  <a:pt x="1799069" y="345973"/>
                </a:lnTo>
                <a:lnTo>
                  <a:pt x="1799653" y="397535"/>
                </a:lnTo>
                <a:lnTo>
                  <a:pt x="1797761" y="450596"/>
                </a:lnTo>
                <a:lnTo>
                  <a:pt x="1793240" y="505142"/>
                </a:lnTo>
                <a:lnTo>
                  <a:pt x="1786153" y="503910"/>
                </a:lnTo>
                <a:lnTo>
                  <a:pt x="1778977" y="502945"/>
                </a:lnTo>
                <a:lnTo>
                  <a:pt x="749782" y="502945"/>
                </a:lnTo>
                <a:lnTo>
                  <a:pt x="700468" y="512902"/>
                </a:lnTo>
                <a:lnTo>
                  <a:pt x="660209" y="540054"/>
                </a:lnTo>
                <a:lnTo>
                  <a:pt x="633069" y="580326"/>
                </a:lnTo>
                <a:lnTo>
                  <a:pt x="623125" y="629627"/>
                </a:lnTo>
                <a:lnTo>
                  <a:pt x="633069" y="678942"/>
                </a:lnTo>
                <a:lnTo>
                  <a:pt x="660209" y="719213"/>
                </a:lnTo>
                <a:lnTo>
                  <a:pt x="700468" y="746366"/>
                </a:lnTo>
                <a:lnTo>
                  <a:pt x="749782" y="756323"/>
                </a:lnTo>
                <a:lnTo>
                  <a:pt x="1732711" y="756323"/>
                </a:lnTo>
                <a:lnTo>
                  <a:pt x="1714741" y="802106"/>
                </a:lnTo>
                <a:lnTo>
                  <a:pt x="1694802" y="847928"/>
                </a:lnTo>
                <a:lnTo>
                  <a:pt x="1672983" y="893800"/>
                </a:lnTo>
                <a:lnTo>
                  <a:pt x="1649349" y="939711"/>
                </a:lnTo>
                <a:lnTo>
                  <a:pt x="1623949" y="985634"/>
                </a:lnTo>
                <a:lnTo>
                  <a:pt x="1596847" y="1031557"/>
                </a:lnTo>
                <a:lnTo>
                  <a:pt x="1568132" y="1077493"/>
                </a:lnTo>
                <a:lnTo>
                  <a:pt x="805383" y="1077493"/>
                </a:lnTo>
                <a:lnTo>
                  <a:pt x="756069" y="1087450"/>
                </a:lnTo>
                <a:lnTo>
                  <a:pt x="715810" y="1114602"/>
                </a:lnTo>
                <a:lnTo>
                  <a:pt x="688670" y="1154874"/>
                </a:lnTo>
                <a:lnTo>
                  <a:pt x="678726" y="1204175"/>
                </a:lnTo>
                <a:lnTo>
                  <a:pt x="688670" y="1253490"/>
                </a:lnTo>
                <a:lnTo>
                  <a:pt x="715810" y="1293749"/>
                </a:lnTo>
                <a:lnTo>
                  <a:pt x="756069" y="1320901"/>
                </a:lnTo>
                <a:lnTo>
                  <a:pt x="805383" y="1330858"/>
                </a:lnTo>
                <a:lnTo>
                  <a:pt x="1383538" y="1330858"/>
                </a:lnTo>
                <a:lnTo>
                  <a:pt x="1352664" y="1368552"/>
                </a:lnTo>
                <a:lnTo>
                  <a:pt x="1321041" y="1406194"/>
                </a:lnTo>
                <a:lnTo>
                  <a:pt x="1288719" y="1443786"/>
                </a:lnTo>
                <a:lnTo>
                  <a:pt x="1255737" y="1481302"/>
                </a:lnTo>
                <a:lnTo>
                  <a:pt x="1222133" y="1518742"/>
                </a:lnTo>
                <a:lnTo>
                  <a:pt x="1187945" y="1556105"/>
                </a:lnTo>
                <a:lnTo>
                  <a:pt x="1153210" y="1593380"/>
                </a:lnTo>
                <a:lnTo>
                  <a:pt x="1117981" y="1630578"/>
                </a:lnTo>
                <a:lnTo>
                  <a:pt x="1082281" y="1667675"/>
                </a:lnTo>
                <a:lnTo>
                  <a:pt x="1046162" y="1704657"/>
                </a:lnTo>
                <a:lnTo>
                  <a:pt x="1009662" y="1741538"/>
                </a:lnTo>
                <a:lnTo>
                  <a:pt x="972807" y="1778304"/>
                </a:lnTo>
                <a:lnTo>
                  <a:pt x="935659" y="1814957"/>
                </a:lnTo>
                <a:lnTo>
                  <a:pt x="898245" y="1851469"/>
                </a:lnTo>
                <a:lnTo>
                  <a:pt x="822794" y="1924113"/>
                </a:lnTo>
                <a:lnTo>
                  <a:pt x="708621" y="2031961"/>
                </a:lnTo>
                <a:lnTo>
                  <a:pt x="351548" y="2362314"/>
                </a:lnTo>
                <a:lnTo>
                  <a:pt x="183464" y="2519527"/>
                </a:lnTo>
                <a:lnTo>
                  <a:pt x="101993" y="2597442"/>
                </a:lnTo>
                <a:lnTo>
                  <a:pt x="62052" y="2636240"/>
                </a:lnTo>
                <a:lnTo>
                  <a:pt x="22707" y="2674924"/>
                </a:lnTo>
                <a:lnTo>
                  <a:pt x="0" y="2697581"/>
                </a:lnTo>
                <a:lnTo>
                  <a:pt x="0" y="3450831"/>
                </a:lnTo>
                <a:lnTo>
                  <a:pt x="701814" y="3450831"/>
                </a:lnTo>
                <a:lnTo>
                  <a:pt x="751128" y="3440874"/>
                </a:lnTo>
                <a:lnTo>
                  <a:pt x="791387" y="3413722"/>
                </a:lnTo>
                <a:lnTo>
                  <a:pt x="818527" y="3373450"/>
                </a:lnTo>
                <a:lnTo>
                  <a:pt x="828471" y="3324148"/>
                </a:lnTo>
                <a:lnTo>
                  <a:pt x="818527" y="3274834"/>
                </a:lnTo>
                <a:lnTo>
                  <a:pt x="791387" y="3234563"/>
                </a:lnTo>
                <a:lnTo>
                  <a:pt x="751128" y="3207423"/>
                </a:lnTo>
                <a:lnTo>
                  <a:pt x="701814" y="3197466"/>
                </a:lnTo>
                <a:lnTo>
                  <a:pt x="32537" y="3197466"/>
                </a:lnTo>
                <a:lnTo>
                  <a:pt x="62763" y="3163379"/>
                </a:lnTo>
                <a:lnTo>
                  <a:pt x="93967" y="3129026"/>
                </a:lnTo>
                <a:lnTo>
                  <a:pt x="126098" y="3094444"/>
                </a:lnTo>
                <a:lnTo>
                  <a:pt x="159143" y="3059607"/>
                </a:lnTo>
                <a:lnTo>
                  <a:pt x="193014" y="3024543"/>
                </a:lnTo>
                <a:lnTo>
                  <a:pt x="227698" y="2989262"/>
                </a:lnTo>
                <a:lnTo>
                  <a:pt x="263118" y="2953753"/>
                </a:lnTo>
                <a:lnTo>
                  <a:pt x="299250" y="2918041"/>
                </a:lnTo>
                <a:lnTo>
                  <a:pt x="336042" y="2882125"/>
                </a:lnTo>
                <a:lnTo>
                  <a:pt x="411391" y="2809697"/>
                </a:lnTo>
                <a:lnTo>
                  <a:pt x="528180" y="2699715"/>
                </a:lnTo>
                <a:lnTo>
                  <a:pt x="967320" y="2293175"/>
                </a:lnTo>
                <a:lnTo>
                  <a:pt x="1084859" y="2182253"/>
                </a:lnTo>
                <a:lnTo>
                  <a:pt x="1162202" y="2107908"/>
                </a:lnTo>
                <a:lnTo>
                  <a:pt x="1200480" y="2070620"/>
                </a:lnTo>
                <a:lnTo>
                  <a:pt x="1238440" y="2033244"/>
                </a:lnTo>
                <a:lnTo>
                  <a:pt x="1276083" y="1995766"/>
                </a:lnTo>
                <a:lnTo>
                  <a:pt x="1313357" y="1958213"/>
                </a:lnTo>
                <a:lnTo>
                  <a:pt x="1350238" y="1920544"/>
                </a:lnTo>
                <a:lnTo>
                  <a:pt x="1386687" y="1882787"/>
                </a:lnTo>
                <a:lnTo>
                  <a:pt x="1422692" y="1844929"/>
                </a:lnTo>
                <a:lnTo>
                  <a:pt x="1458214" y="1806968"/>
                </a:lnTo>
                <a:lnTo>
                  <a:pt x="1493227" y="1768894"/>
                </a:lnTo>
                <a:lnTo>
                  <a:pt x="1527695" y="1730705"/>
                </a:lnTo>
                <a:lnTo>
                  <a:pt x="1561579" y="1692402"/>
                </a:lnTo>
                <a:lnTo>
                  <a:pt x="1594878" y="1653984"/>
                </a:lnTo>
                <a:lnTo>
                  <a:pt x="1627530" y="1615440"/>
                </a:lnTo>
                <a:lnTo>
                  <a:pt x="1659534" y="1576781"/>
                </a:lnTo>
                <a:lnTo>
                  <a:pt x="1690839" y="1537982"/>
                </a:lnTo>
                <a:lnTo>
                  <a:pt x="1721421" y="1499057"/>
                </a:lnTo>
                <a:lnTo>
                  <a:pt x="1751253" y="1460004"/>
                </a:lnTo>
                <a:lnTo>
                  <a:pt x="1780311" y="1420812"/>
                </a:lnTo>
                <a:lnTo>
                  <a:pt x="1808543" y="1381480"/>
                </a:lnTo>
                <a:lnTo>
                  <a:pt x="1835950" y="1342009"/>
                </a:lnTo>
                <a:lnTo>
                  <a:pt x="1862480" y="1302385"/>
                </a:lnTo>
                <a:lnTo>
                  <a:pt x="1888109" y="1262621"/>
                </a:lnTo>
                <a:lnTo>
                  <a:pt x="1912810" y="1222692"/>
                </a:lnTo>
                <a:lnTo>
                  <a:pt x="1936546" y="1182624"/>
                </a:lnTo>
                <a:lnTo>
                  <a:pt x="1959292" y="1142390"/>
                </a:lnTo>
                <a:lnTo>
                  <a:pt x="1981022" y="1101991"/>
                </a:lnTo>
                <a:lnTo>
                  <a:pt x="2001710" y="1061427"/>
                </a:lnTo>
                <a:lnTo>
                  <a:pt x="2021306" y="1020699"/>
                </a:lnTo>
                <a:lnTo>
                  <a:pt x="2039797" y="979805"/>
                </a:lnTo>
                <a:lnTo>
                  <a:pt x="2057158" y="938733"/>
                </a:lnTo>
                <a:lnTo>
                  <a:pt x="2073338" y="897483"/>
                </a:lnTo>
                <a:lnTo>
                  <a:pt x="2088324" y="856056"/>
                </a:lnTo>
                <a:lnTo>
                  <a:pt x="2102078" y="814438"/>
                </a:lnTo>
                <a:lnTo>
                  <a:pt x="2114588" y="772642"/>
                </a:lnTo>
                <a:lnTo>
                  <a:pt x="2125789" y="730656"/>
                </a:lnTo>
                <a:lnTo>
                  <a:pt x="2135682" y="688479"/>
                </a:lnTo>
                <a:lnTo>
                  <a:pt x="2144230" y="646099"/>
                </a:lnTo>
                <a:lnTo>
                  <a:pt x="2151405" y="603529"/>
                </a:lnTo>
                <a:lnTo>
                  <a:pt x="2157158" y="560755"/>
                </a:lnTo>
                <a:lnTo>
                  <a:pt x="2162302" y="505142"/>
                </a:lnTo>
                <a:lnTo>
                  <a:pt x="2164308" y="483412"/>
                </a:lnTo>
                <a:lnTo>
                  <a:pt x="2167483" y="408241"/>
                </a:lnTo>
                <a:close/>
              </a:path>
              <a:path w="3973829" h="5307330">
                <a:moveTo>
                  <a:pt x="2815323" y="1929345"/>
                </a:moveTo>
                <a:lnTo>
                  <a:pt x="2811945" y="1882635"/>
                </a:lnTo>
                <a:lnTo>
                  <a:pt x="2802153" y="1838058"/>
                </a:lnTo>
                <a:lnTo>
                  <a:pt x="2786405" y="1796097"/>
                </a:lnTo>
                <a:lnTo>
                  <a:pt x="2765209" y="1757235"/>
                </a:lnTo>
                <a:lnTo>
                  <a:pt x="2739021" y="1721967"/>
                </a:lnTo>
                <a:lnTo>
                  <a:pt x="2708338" y="1690789"/>
                </a:lnTo>
                <a:lnTo>
                  <a:pt x="2673642" y="1664182"/>
                </a:lnTo>
                <a:lnTo>
                  <a:pt x="2635402" y="1642643"/>
                </a:lnTo>
                <a:lnTo>
                  <a:pt x="2594114" y="1626641"/>
                </a:lnTo>
                <a:lnTo>
                  <a:pt x="2550249" y="1616684"/>
                </a:lnTo>
                <a:lnTo>
                  <a:pt x="2504287" y="1613255"/>
                </a:lnTo>
                <a:lnTo>
                  <a:pt x="2458326" y="1616684"/>
                </a:lnTo>
                <a:lnTo>
                  <a:pt x="2414447" y="1626641"/>
                </a:lnTo>
                <a:lnTo>
                  <a:pt x="2373160" y="1642643"/>
                </a:lnTo>
                <a:lnTo>
                  <a:pt x="2334920" y="1664182"/>
                </a:lnTo>
                <a:lnTo>
                  <a:pt x="2300224" y="1690789"/>
                </a:lnTo>
                <a:lnTo>
                  <a:pt x="2269540" y="1721967"/>
                </a:lnTo>
                <a:lnTo>
                  <a:pt x="2243353" y="1757235"/>
                </a:lnTo>
                <a:lnTo>
                  <a:pt x="2222157" y="1796097"/>
                </a:lnTo>
                <a:lnTo>
                  <a:pt x="2206421" y="1838058"/>
                </a:lnTo>
                <a:lnTo>
                  <a:pt x="2196617" y="1882635"/>
                </a:lnTo>
                <a:lnTo>
                  <a:pt x="2193252" y="1929345"/>
                </a:lnTo>
                <a:lnTo>
                  <a:pt x="2196617" y="1976056"/>
                </a:lnTo>
                <a:lnTo>
                  <a:pt x="2206421" y="2020646"/>
                </a:lnTo>
                <a:lnTo>
                  <a:pt x="2222157" y="2062607"/>
                </a:lnTo>
                <a:lnTo>
                  <a:pt x="2243353" y="2101469"/>
                </a:lnTo>
                <a:lnTo>
                  <a:pt x="2269540" y="2136724"/>
                </a:lnTo>
                <a:lnTo>
                  <a:pt x="2300224" y="2167915"/>
                </a:lnTo>
                <a:lnTo>
                  <a:pt x="2334920" y="2194522"/>
                </a:lnTo>
                <a:lnTo>
                  <a:pt x="2373160" y="2216061"/>
                </a:lnTo>
                <a:lnTo>
                  <a:pt x="2414447" y="2232063"/>
                </a:lnTo>
                <a:lnTo>
                  <a:pt x="2458326" y="2242020"/>
                </a:lnTo>
                <a:lnTo>
                  <a:pt x="2504287" y="2245436"/>
                </a:lnTo>
                <a:lnTo>
                  <a:pt x="2550249" y="2242020"/>
                </a:lnTo>
                <a:lnTo>
                  <a:pt x="2594114" y="2232063"/>
                </a:lnTo>
                <a:lnTo>
                  <a:pt x="2635402" y="2216061"/>
                </a:lnTo>
                <a:lnTo>
                  <a:pt x="2673642" y="2194522"/>
                </a:lnTo>
                <a:lnTo>
                  <a:pt x="2708338" y="2167915"/>
                </a:lnTo>
                <a:lnTo>
                  <a:pt x="2739021" y="2136724"/>
                </a:lnTo>
                <a:lnTo>
                  <a:pt x="2765209" y="2101469"/>
                </a:lnTo>
                <a:lnTo>
                  <a:pt x="2786405" y="2062607"/>
                </a:lnTo>
                <a:lnTo>
                  <a:pt x="2802153" y="2020646"/>
                </a:lnTo>
                <a:lnTo>
                  <a:pt x="2811945" y="1976056"/>
                </a:lnTo>
                <a:lnTo>
                  <a:pt x="2815323" y="1929345"/>
                </a:lnTo>
                <a:close/>
              </a:path>
              <a:path w="3973829" h="5307330">
                <a:moveTo>
                  <a:pt x="2817076" y="3135579"/>
                </a:moveTo>
                <a:lnTo>
                  <a:pt x="2814421" y="3088868"/>
                </a:lnTo>
                <a:lnTo>
                  <a:pt x="2806662" y="3043745"/>
                </a:lnTo>
                <a:lnTo>
                  <a:pt x="2794089" y="3000489"/>
                </a:lnTo>
                <a:lnTo>
                  <a:pt x="2777007" y="2959430"/>
                </a:lnTo>
                <a:lnTo>
                  <a:pt x="2755709" y="2920847"/>
                </a:lnTo>
                <a:lnTo>
                  <a:pt x="2730487" y="2885059"/>
                </a:lnTo>
                <a:lnTo>
                  <a:pt x="2701633" y="2852343"/>
                </a:lnTo>
                <a:lnTo>
                  <a:pt x="2669438" y="2823019"/>
                </a:lnTo>
                <a:lnTo>
                  <a:pt x="2634221" y="2797391"/>
                </a:lnTo>
                <a:lnTo>
                  <a:pt x="2596261" y="2775737"/>
                </a:lnTo>
                <a:lnTo>
                  <a:pt x="2555849" y="2758376"/>
                </a:lnTo>
                <a:lnTo>
                  <a:pt x="2513304" y="2745600"/>
                </a:lnTo>
                <a:lnTo>
                  <a:pt x="2468892" y="2737726"/>
                </a:lnTo>
                <a:lnTo>
                  <a:pt x="2422931" y="2735021"/>
                </a:lnTo>
                <a:lnTo>
                  <a:pt x="2376957" y="2737726"/>
                </a:lnTo>
                <a:lnTo>
                  <a:pt x="2332558" y="2745600"/>
                </a:lnTo>
                <a:lnTo>
                  <a:pt x="2290000" y="2758376"/>
                </a:lnTo>
                <a:lnTo>
                  <a:pt x="2249589" y="2775737"/>
                </a:lnTo>
                <a:lnTo>
                  <a:pt x="2211628" y="2797391"/>
                </a:lnTo>
                <a:lnTo>
                  <a:pt x="2176411" y="2823019"/>
                </a:lnTo>
                <a:lnTo>
                  <a:pt x="2144230" y="2852343"/>
                </a:lnTo>
                <a:lnTo>
                  <a:pt x="2115375" y="2885059"/>
                </a:lnTo>
                <a:lnTo>
                  <a:pt x="2090153" y="2920847"/>
                </a:lnTo>
                <a:lnTo>
                  <a:pt x="2068842" y="2959430"/>
                </a:lnTo>
                <a:lnTo>
                  <a:pt x="2051761" y="3000489"/>
                </a:lnTo>
                <a:lnTo>
                  <a:pt x="2039188" y="3043745"/>
                </a:lnTo>
                <a:lnTo>
                  <a:pt x="2031428" y="3088868"/>
                </a:lnTo>
                <a:lnTo>
                  <a:pt x="2028786" y="3135579"/>
                </a:lnTo>
                <a:lnTo>
                  <a:pt x="2031428" y="3182302"/>
                </a:lnTo>
                <a:lnTo>
                  <a:pt x="2039188" y="3227425"/>
                </a:lnTo>
                <a:lnTo>
                  <a:pt x="2051761" y="3270681"/>
                </a:lnTo>
                <a:lnTo>
                  <a:pt x="2068842" y="3311741"/>
                </a:lnTo>
                <a:lnTo>
                  <a:pt x="2090153" y="3350323"/>
                </a:lnTo>
                <a:lnTo>
                  <a:pt x="2115375" y="3386112"/>
                </a:lnTo>
                <a:lnTo>
                  <a:pt x="2144230" y="3418827"/>
                </a:lnTo>
                <a:lnTo>
                  <a:pt x="2176411" y="3448139"/>
                </a:lnTo>
                <a:lnTo>
                  <a:pt x="2211628" y="3473780"/>
                </a:lnTo>
                <a:lnTo>
                  <a:pt x="2249589" y="3495433"/>
                </a:lnTo>
                <a:lnTo>
                  <a:pt x="2290000" y="3512794"/>
                </a:lnTo>
                <a:lnTo>
                  <a:pt x="2332558" y="3525558"/>
                </a:lnTo>
                <a:lnTo>
                  <a:pt x="2376957" y="3533444"/>
                </a:lnTo>
                <a:lnTo>
                  <a:pt x="2422931" y="3536137"/>
                </a:lnTo>
                <a:lnTo>
                  <a:pt x="2468892" y="3533444"/>
                </a:lnTo>
                <a:lnTo>
                  <a:pt x="2513304" y="3525558"/>
                </a:lnTo>
                <a:lnTo>
                  <a:pt x="2555849" y="3512794"/>
                </a:lnTo>
                <a:lnTo>
                  <a:pt x="2596261" y="3495433"/>
                </a:lnTo>
                <a:lnTo>
                  <a:pt x="2634221" y="3473780"/>
                </a:lnTo>
                <a:lnTo>
                  <a:pt x="2669438" y="3448139"/>
                </a:lnTo>
                <a:lnTo>
                  <a:pt x="2701633" y="3418827"/>
                </a:lnTo>
                <a:lnTo>
                  <a:pt x="2730487" y="3386112"/>
                </a:lnTo>
                <a:lnTo>
                  <a:pt x="2755709" y="3350323"/>
                </a:lnTo>
                <a:lnTo>
                  <a:pt x="2777007" y="3311741"/>
                </a:lnTo>
                <a:lnTo>
                  <a:pt x="2794089" y="3270681"/>
                </a:lnTo>
                <a:lnTo>
                  <a:pt x="2806662" y="3227425"/>
                </a:lnTo>
                <a:lnTo>
                  <a:pt x="2814421" y="3182302"/>
                </a:lnTo>
                <a:lnTo>
                  <a:pt x="2817076" y="3135579"/>
                </a:lnTo>
                <a:close/>
              </a:path>
              <a:path w="3973829" h="5307330">
                <a:moveTo>
                  <a:pt x="3001899" y="902957"/>
                </a:moveTo>
                <a:lnTo>
                  <a:pt x="2997568" y="853782"/>
                </a:lnTo>
                <a:lnTo>
                  <a:pt x="2985058" y="807504"/>
                </a:lnTo>
                <a:lnTo>
                  <a:pt x="2965145" y="764882"/>
                </a:lnTo>
                <a:lnTo>
                  <a:pt x="2938589" y="726706"/>
                </a:lnTo>
                <a:lnTo>
                  <a:pt x="2906141" y="693737"/>
                </a:lnTo>
                <a:lnTo>
                  <a:pt x="2868574" y="666750"/>
                </a:lnTo>
                <a:lnTo>
                  <a:pt x="2826639" y="646518"/>
                </a:lnTo>
                <a:lnTo>
                  <a:pt x="2781096" y="633806"/>
                </a:lnTo>
                <a:lnTo>
                  <a:pt x="2732709" y="629399"/>
                </a:lnTo>
                <a:lnTo>
                  <a:pt x="2684322" y="633806"/>
                </a:lnTo>
                <a:lnTo>
                  <a:pt x="2638780" y="646518"/>
                </a:lnTo>
                <a:lnTo>
                  <a:pt x="2596845" y="666750"/>
                </a:lnTo>
                <a:lnTo>
                  <a:pt x="2559278" y="693737"/>
                </a:lnTo>
                <a:lnTo>
                  <a:pt x="2526830" y="726706"/>
                </a:lnTo>
                <a:lnTo>
                  <a:pt x="2500274" y="764882"/>
                </a:lnTo>
                <a:lnTo>
                  <a:pt x="2480360" y="807504"/>
                </a:lnTo>
                <a:lnTo>
                  <a:pt x="2467864" y="853782"/>
                </a:lnTo>
                <a:lnTo>
                  <a:pt x="2463520" y="902957"/>
                </a:lnTo>
                <a:lnTo>
                  <a:pt x="2467864" y="952131"/>
                </a:lnTo>
                <a:lnTo>
                  <a:pt x="2480360" y="998410"/>
                </a:lnTo>
                <a:lnTo>
                  <a:pt x="2500274" y="1041031"/>
                </a:lnTo>
                <a:lnTo>
                  <a:pt x="2526830" y="1079220"/>
                </a:lnTo>
                <a:lnTo>
                  <a:pt x="2559278" y="1112189"/>
                </a:lnTo>
                <a:lnTo>
                  <a:pt x="2596845" y="1139177"/>
                </a:lnTo>
                <a:lnTo>
                  <a:pt x="2638780" y="1159408"/>
                </a:lnTo>
                <a:lnTo>
                  <a:pt x="2684322" y="1172121"/>
                </a:lnTo>
                <a:lnTo>
                  <a:pt x="2732709" y="1176528"/>
                </a:lnTo>
                <a:lnTo>
                  <a:pt x="2781096" y="1172121"/>
                </a:lnTo>
                <a:lnTo>
                  <a:pt x="2826639" y="1159408"/>
                </a:lnTo>
                <a:lnTo>
                  <a:pt x="2868574" y="1139177"/>
                </a:lnTo>
                <a:lnTo>
                  <a:pt x="2906141" y="1112189"/>
                </a:lnTo>
                <a:lnTo>
                  <a:pt x="2938589" y="1079220"/>
                </a:lnTo>
                <a:lnTo>
                  <a:pt x="2965145" y="1041031"/>
                </a:lnTo>
                <a:lnTo>
                  <a:pt x="2985058" y="998410"/>
                </a:lnTo>
                <a:lnTo>
                  <a:pt x="2997568" y="952131"/>
                </a:lnTo>
                <a:lnTo>
                  <a:pt x="3001899" y="902957"/>
                </a:lnTo>
                <a:close/>
              </a:path>
              <a:path w="3973829" h="5307330">
                <a:moveTo>
                  <a:pt x="3293262" y="0"/>
                </a:moveTo>
                <a:lnTo>
                  <a:pt x="2712770" y="0"/>
                </a:lnTo>
                <a:lnTo>
                  <a:pt x="2722854" y="15176"/>
                </a:lnTo>
                <a:lnTo>
                  <a:pt x="2752775" y="49720"/>
                </a:lnTo>
                <a:lnTo>
                  <a:pt x="2786761" y="80124"/>
                </a:lnTo>
                <a:lnTo>
                  <a:pt x="2824403" y="105956"/>
                </a:lnTo>
                <a:lnTo>
                  <a:pt x="2865259" y="126796"/>
                </a:lnTo>
                <a:lnTo>
                  <a:pt x="2908935" y="142214"/>
                </a:lnTo>
                <a:lnTo>
                  <a:pt x="2954998" y="151777"/>
                </a:lnTo>
                <a:lnTo>
                  <a:pt x="3003016" y="155054"/>
                </a:lnTo>
                <a:lnTo>
                  <a:pt x="3051035" y="151777"/>
                </a:lnTo>
                <a:lnTo>
                  <a:pt x="3097098" y="142214"/>
                </a:lnTo>
                <a:lnTo>
                  <a:pt x="3140773" y="126796"/>
                </a:lnTo>
                <a:lnTo>
                  <a:pt x="3181642" y="105956"/>
                </a:lnTo>
                <a:lnTo>
                  <a:pt x="3219272" y="80124"/>
                </a:lnTo>
                <a:lnTo>
                  <a:pt x="3253257" y="49720"/>
                </a:lnTo>
                <a:lnTo>
                  <a:pt x="3283178" y="15176"/>
                </a:lnTo>
                <a:lnTo>
                  <a:pt x="3293262" y="0"/>
                </a:lnTo>
                <a:close/>
              </a:path>
              <a:path w="3973829" h="5307330">
                <a:moveTo>
                  <a:pt x="3973512" y="1706270"/>
                </a:moveTo>
                <a:lnTo>
                  <a:pt x="3970858" y="1659585"/>
                </a:lnTo>
                <a:lnTo>
                  <a:pt x="3963111" y="1614474"/>
                </a:lnTo>
                <a:lnTo>
                  <a:pt x="3950551" y="1571244"/>
                </a:lnTo>
                <a:lnTo>
                  <a:pt x="3933469" y="1530210"/>
                </a:lnTo>
                <a:lnTo>
                  <a:pt x="3912184" y="1491640"/>
                </a:lnTo>
                <a:lnTo>
                  <a:pt x="3886962" y="1455864"/>
                </a:lnTo>
                <a:lnTo>
                  <a:pt x="3858133" y="1423174"/>
                </a:lnTo>
                <a:lnTo>
                  <a:pt x="3825964" y="1393863"/>
                </a:lnTo>
                <a:lnTo>
                  <a:pt x="3790759" y="1368247"/>
                </a:lnTo>
                <a:lnTo>
                  <a:pt x="3752812" y="1346606"/>
                </a:lnTo>
                <a:lnTo>
                  <a:pt x="3712426" y="1329245"/>
                </a:lnTo>
                <a:lnTo>
                  <a:pt x="3669893" y="1316482"/>
                </a:lnTo>
                <a:lnTo>
                  <a:pt x="3625507" y="1308608"/>
                </a:lnTo>
                <a:lnTo>
                  <a:pt x="3579558" y="1305902"/>
                </a:lnTo>
                <a:lnTo>
                  <a:pt x="3533610" y="1308608"/>
                </a:lnTo>
                <a:lnTo>
                  <a:pt x="3489223" y="1316482"/>
                </a:lnTo>
                <a:lnTo>
                  <a:pt x="3446691" y="1329245"/>
                </a:lnTo>
                <a:lnTo>
                  <a:pt x="3406305" y="1346606"/>
                </a:lnTo>
                <a:lnTo>
                  <a:pt x="3368370" y="1368247"/>
                </a:lnTo>
                <a:lnTo>
                  <a:pt x="3333165" y="1393863"/>
                </a:lnTo>
                <a:lnTo>
                  <a:pt x="3300996" y="1423174"/>
                </a:lnTo>
                <a:lnTo>
                  <a:pt x="3272155" y="1455864"/>
                </a:lnTo>
                <a:lnTo>
                  <a:pt x="3246945" y="1491640"/>
                </a:lnTo>
                <a:lnTo>
                  <a:pt x="3225647" y="1530210"/>
                </a:lnTo>
                <a:lnTo>
                  <a:pt x="3208578" y="1571244"/>
                </a:lnTo>
                <a:lnTo>
                  <a:pt x="3196005" y="1614474"/>
                </a:lnTo>
                <a:lnTo>
                  <a:pt x="3188258" y="1659585"/>
                </a:lnTo>
                <a:lnTo>
                  <a:pt x="3185604" y="1706270"/>
                </a:lnTo>
                <a:lnTo>
                  <a:pt x="3188258" y="1752968"/>
                </a:lnTo>
                <a:lnTo>
                  <a:pt x="3196005" y="1798078"/>
                </a:lnTo>
                <a:lnTo>
                  <a:pt x="3208578" y="1841296"/>
                </a:lnTo>
                <a:lnTo>
                  <a:pt x="3225647" y="1882343"/>
                </a:lnTo>
                <a:lnTo>
                  <a:pt x="3246945" y="1920900"/>
                </a:lnTo>
                <a:lnTo>
                  <a:pt x="3272155" y="1956676"/>
                </a:lnTo>
                <a:lnTo>
                  <a:pt x="3300996" y="1989366"/>
                </a:lnTo>
                <a:lnTo>
                  <a:pt x="3333165" y="2018677"/>
                </a:lnTo>
                <a:lnTo>
                  <a:pt x="3368370" y="2044306"/>
                </a:lnTo>
                <a:lnTo>
                  <a:pt x="3406305" y="2065934"/>
                </a:lnTo>
                <a:lnTo>
                  <a:pt x="3446691" y="2083295"/>
                </a:lnTo>
                <a:lnTo>
                  <a:pt x="3489223" y="2096058"/>
                </a:lnTo>
                <a:lnTo>
                  <a:pt x="3533610" y="2103932"/>
                </a:lnTo>
                <a:lnTo>
                  <a:pt x="3579558" y="2106625"/>
                </a:lnTo>
                <a:lnTo>
                  <a:pt x="3625507" y="2103932"/>
                </a:lnTo>
                <a:lnTo>
                  <a:pt x="3669893" y="2096058"/>
                </a:lnTo>
                <a:lnTo>
                  <a:pt x="3712426" y="2083295"/>
                </a:lnTo>
                <a:lnTo>
                  <a:pt x="3752812" y="2065934"/>
                </a:lnTo>
                <a:lnTo>
                  <a:pt x="3790759" y="2044306"/>
                </a:lnTo>
                <a:lnTo>
                  <a:pt x="3825964" y="2018677"/>
                </a:lnTo>
                <a:lnTo>
                  <a:pt x="3858133" y="1989366"/>
                </a:lnTo>
                <a:lnTo>
                  <a:pt x="3886962" y="1956676"/>
                </a:lnTo>
                <a:lnTo>
                  <a:pt x="3912184" y="1920900"/>
                </a:lnTo>
                <a:lnTo>
                  <a:pt x="3933469" y="1882343"/>
                </a:lnTo>
                <a:lnTo>
                  <a:pt x="3950551" y="1841296"/>
                </a:lnTo>
                <a:lnTo>
                  <a:pt x="3963111" y="1798078"/>
                </a:lnTo>
                <a:lnTo>
                  <a:pt x="3970858" y="1752968"/>
                </a:lnTo>
                <a:lnTo>
                  <a:pt x="3973512" y="170627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3C1C7D2-8ED7-565E-4663-883D463CCEC2}"/>
              </a:ext>
            </a:extLst>
          </p:cNvPr>
          <p:cNvGrpSpPr/>
          <p:nvPr userDrawn="1"/>
        </p:nvGrpSpPr>
        <p:grpSpPr>
          <a:xfrm>
            <a:off x="9738785" y="5200448"/>
            <a:ext cx="2447458" cy="1655479"/>
            <a:chOff x="9738785" y="5200448"/>
            <a:chExt cx="2447458" cy="1655479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98C71A34-944C-2B51-8D33-55FE94CDC0ED}"/>
                </a:ext>
              </a:extLst>
            </p:cNvPr>
            <p:cNvSpPr/>
            <p:nvPr/>
          </p:nvSpPr>
          <p:spPr>
            <a:xfrm>
              <a:off x="11776260" y="5200448"/>
              <a:ext cx="409983" cy="1655479"/>
            </a:xfrm>
            <a:custGeom>
              <a:avLst/>
              <a:gdLst/>
              <a:ahLst/>
              <a:cxnLst/>
              <a:rect l="l" t="t" r="r" b="b"/>
              <a:pathLst>
                <a:path w="452119" h="1825625">
                  <a:moveTo>
                    <a:pt x="451948" y="0"/>
                  </a:moveTo>
                  <a:lnTo>
                    <a:pt x="423684" y="19055"/>
                  </a:lnTo>
                  <a:lnTo>
                    <a:pt x="396532" y="59323"/>
                  </a:lnTo>
                  <a:lnTo>
                    <a:pt x="386575" y="108633"/>
                  </a:lnTo>
                  <a:lnTo>
                    <a:pt x="396532" y="157938"/>
                  </a:lnTo>
                  <a:lnTo>
                    <a:pt x="423684" y="198206"/>
                  </a:lnTo>
                  <a:lnTo>
                    <a:pt x="451948" y="217264"/>
                  </a:lnTo>
                  <a:lnTo>
                    <a:pt x="451948" y="0"/>
                  </a:lnTo>
                  <a:close/>
                </a:path>
                <a:path w="452119" h="1825625">
                  <a:moveTo>
                    <a:pt x="451948" y="537956"/>
                  </a:moveTo>
                  <a:lnTo>
                    <a:pt x="126682" y="537956"/>
                  </a:lnTo>
                  <a:lnTo>
                    <a:pt x="77372" y="547914"/>
                  </a:lnTo>
                  <a:lnTo>
                    <a:pt x="37104" y="575066"/>
                  </a:lnTo>
                  <a:lnTo>
                    <a:pt x="9955" y="615334"/>
                  </a:lnTo>
                  <a:lnTo>
                    <a:pt x="0" y="664639"/>
                  </a:lnTo>
                  <a:lnTo>
                    <a:pt x="9955" y="713951"/>
                  </a:lnTo>
                  <a:lnTo>
                    <a:pt x="37104" y="754223"/>
                  </a:lnTo>
                  <a:lnTo>
                    <a:pt x="77372" y="781377"/>
                  </a:lnTo>
                  <a:lnTo>
                    <a:pt x="126682" y="791334"/>
                  </a:lnTo>
                  <a:lnTo>
                    <a:pt x="451948" y="791334"/>
                  </a:lnTo>
                  <a:lnTo>
                    <a:pt x="451948" y="537956"/>
                  </a:lnTo>
                  <a:close/>
                </a:path>
                <a:path w="452119" h="1825625">
                  <a:moveTo>
                    <a:pt x="451948" y="1112479"/>
                  </a:moveTo>
                  <a:lnTo>
                    <a:pt x="182283" y="1112479"/>
                  </a:lnTo>
                  <a:lnTo>
                    <a:pt x="132972" y="1122436"/>
                  </a:lnTo>
                  <a:lnTo>
                    <a:pt x="92705" y="1149588"/>
                  </a:lnTo>
                  <a:lnTo>
                    <a:pt x="65556" y="1189857"/>
                  </a:lnTo>
                  <a:lnTo>
                    <a:pt x="55600" y="1239162"/>
                  </a:lnTo>
                  <a:lnTo>
                    <a:pt x="65556" y="1288472"/>
                  </a:lnTo>
                  <a:lnTo>
                    <a:pt x="92705" y="1328739"/>
                  </a:lnTo>
                  <a:lnTo>
                    <a:pt x="132972" y="1355889"/>
                  </a:lnTo>
                  <a:lnTo>
                    <a:pt x="182283" y="1365844"/>
                  </a:lnTo>
                  <a:lnTo>
                    <a:pt x="451948" y="1365844"/>
                  </a:lnTo>
                  <a:lnTo>
                    <a:pt x="451948" y="1112479"/>
                  </a:lnTo>
                  <a:close/>
                </a:path>
                <a:path w="452119" h="1825625">
                  <a:moveTo>
                    <a:pt x="451948" y="1710089"/>
                  </a:moveTo>
                  <a:lnTo>
                    <a:pt x="423079" y="1739653"/>
                  </a:lnTo>
                  <a:lnTo>
                    <a:pt x="386576" y="1776536"/>
                  </a:lnTo>
                  <a:lnTo>
                    <a:pt x="349728" y="1813304"/>
                  </a:lnTo>
                  <a:lnTo>
                    <a:pt x="337804" y="1825067"/>
                  </a:lnTo>
                  <a:lnTo>
                    <a:pt x="451948" y="1825067"/>
                  </a:lnTo>
                  <a:lnTo>
                    <a:pt x="451948" y="1710089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18C9DDA2-A716-EBE8-F34F-C40B6D8FCE79}"/>
                </a:ext>
              </a:extLst>
            </p:cNvPr>
            <p:cNvSpPr/>
            <p:nvPr/>
          </p:nvSpPr>
          <p:spPr>
            <a:xfrm>
              <a:off x="11026069" y="6723987"/>
              <a:ext cx="393860" cy="131862"/>
            </a:xfrm>
            <a:custGeom>
              <a:avLst/>
              <a:gdLst/>
              <a:ahLst/>
              <a:cxnLst/>
              <a:rect l="l" t="t" r="r" b="b"/>
              <a:pathLst>
                <a:path w="434340" h="145415">
                  <a:moveTo>
                    <a:pt x="216865" y="0"/>
                  </a:moveTo>
                  <a:lnTo>
                    <a:pt x="169224" y="4880"/>
                  </a:lnTo>
                  <a:lnTo>
                    <a:pt x="124850" y="18878"/>
                  </a:lnTo>
                  <a:lnTo>
                    <a:pt x="84694" y="41028"/>
                  </a:lnTo>
                  <a:lnTo>
                    <a:pt x="49708" y="70364"/>
                  </a:lnTo>
                  <a:lnTo>
                    <a:pt x="20841" y="105919"/>
                  </a:lnTo>
                  <a:lnTo>
                    <a:pt x="0" y="144942"/>
                  </a:lnTo>
                  <a:lnTo>
                    <a:pt x="433744" y="144942"/>
                  </a:lnTo>
                  <a:lnTo>
                    <a:pt x="412901" y="105919"/>
                  </a:lnTo>
                  <a:lnTo>
                    <a:pt x="384034" y="70364"/>
                  </a:lnTo>
                  <a:lnTo>
                    <a:pt x="349046" y="41028"/>
                  </a:lnTo>
                  <a:lnTo>
                    <a:pt x="308888" y="18878"/>
                  </a:lnTo>
                  <a:lnTo>
                    <a:pt x="264511" y="4880"/>
                  </a:lnTo>
                  <a:lnTo>
                    <a:pt x="216865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FACD9CE7-8C7D-69FF-1D44-5F08A5F89086}"/>
                </a:ext>
              </a:extLst>
            </p:cNvPr>
            <p:cNvSpPr/>
            <p:nvPr/>
          </p:nvSpPr>
          <p:spPr>
            <a:xfrm>
              <a:off x="11333372" y="6158589"/>
              <a:ext cx="324186" cy="329368"/>
            </a:xfrm>
            <a:custGeom>
              <a:avLst/>
              <a:gdLst/>
              <a:ahLst/>
              <a:cxnLst/>
              <a:rect l="l" t="t" r="r" b="b"/>
              <a:pathLst>
                <a:path w="357504" h="363220">
                  <a:moveTo>
                    <a:pt x="178612" y="0"/>
                  </a:moveTo>
                  <a:lnTo>
                    <a:pt x="131127" y="6483"/>
                  </a:lnTo>
                  <a:lnTo>
                    <a:pt x="88459" y="24782"/>
                  </a:lnTo>
                  <a:lnTo>
                    <a:pt x="52311" y="53165"/>
                  </a:lnTo>
                  <a:lnTo>
                    <a:pt x="24384" y="89902"/>
                  </a:lnTo>
                  <a:lnTo>
                    <a:pt x="6379" y="133264"/>
                  </a:lnTo>
                  <a:lnTo>
                    <a:pt x="0" y="181521"/>
                  </a:lnTo>
                  <a:lnTo>
                    <a:pt x="6379" y="229772"/>
                  </a:lnTo>
                  <a:lnTo>
                    <a:pt x="24383" y="273130"/>
                  </a:lnTo>
                  <a:lnTo>
                    <a:pt x="52311" y="309865"/>
                  </a:lnTo>
                  <a:lnTo>
                    <a:pt x="88459" y="338247"/>
                  </a:lnTo>
                  <a:lnTo>
                    <a:pt x="131127" y="356545"/>
                  </a:lnTo>
                  <a:lnTo>
                    <a:pt x="178612" y="363029"/>
                  </a:lnTo>
                  <a:lnTo>
                    <a:pt x="226092" y="356545"/>
                  </a:lnTo>
                  <a:lnTo>
                    <a:pt x="268756" y="338247"/>
                  </a:lnTo>
                  <a:lnTo>
                    <a:pt x="304903" y="309865"/>
                  </a:lnTo>
                  <a:lnTo>
                    <a:pt x="332829" y="273130"/>
                  </a:lnTo>
                  <a:lnTo>
                    <a:pt x="350833" y="229772"/>
                  </a:lnTo>
                  <a:lnTo>
                    <a:pt x="357212" y="181521"/>
                  </a:lnTo>
                  <a:lnTo>
                    <a:pt x="350833" y="133264"/>
                  </a:lnTo>
                  <a:lnTo>
                    <a:pt x="332829" y="89902"/>
                  </a:lnTo>
                  <a:lnTo>
                    <a:pt x="304903" y="53165"/>
                  </a:lnTo>
                  <a:lnTo>
                    <a:pt x="268756" y="24782"/>
                  </a:lnTo>
                  <a:lnTo>
                    <a:pt x="226092" y="6483"/>
                  </a:lnTo>
                  <a:lnTo>
                    <a:pt x="17861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9B6B4EDF-9602-7E47-156F-525A333E17AC}"/>
                </a:ext>
              </a:extLst>
            </p:cNvPr>
            <p:cNvSpPr/>
            <p:nvPr/>
          </p:nvSpPr>
          <p:spPr>
            <a:xfrm>
              <a:off x="9738785" y="6661239"/>
              <a:ext cx="593093" cy="194626"/>
            </a:xfrm>
            <a:custGeom>
              <a:avLst/>
              <a:gdLst/>
              <a:ahLst/>
              <a:cxnLst/>
              <a:rect l="l" t="t" r="r" b="b"/>
              <a:pathLst>
                <a:path w="654050" h="214629">
                  <a:moveTo>
                    <a:pt x="326761" y="0"/>
                  </a:moveTo>
                  <a:lnTo>
                    <a:pt x="277990" y="3334"/>
                  </a:lnTo>
                  <a:lnTo>
                    <a:pt x="231213" y="13046"/>
                  </a:lnTo>
                  <a:lnTo>
                    <a:pt x="186858" y="28702"/>
                  </a:lnTo>
                  <a:lnTo>
                    <a:pt x="145354" y="49867"/>
                  </a:lnTo>
                  <a:lnTo>
                    <a:pt x="107129" y="76104"/>
                  </a:lnTo>
                  <a:lnTo>
                    <a:pt x="72611" y="106980"/>
                  </a:lnTo>
                  <a:lnTo>
                    <a:pt x="42229" y="142058"/>
                  </a:lnTo>
                  <a:lnTo>
                    <a:pt x="16410" y="180904"/>
                  </a:lnTo>
                  <a:lnTo>
                    <a:pt x="0" y="214139"/>
                  </a:lnTo>
                  <a:lnTo>
                    <a:pt x="653522" y="214139"/>
                  </a:lnTo>
                  <a:lnTo>
                    <a:pt x="611292" y="142058"/>
                  </a:lnTo>
                  <a:lnTo>
                    <a:pt x="580910" y="106980"/>
                  </a:lnTo>
                  <a:lnTo>
                    <a:pt x="546392" y="76104"/>
                  </a:lnTo>
                  <a:lnTo>
                    <a:pt x="508167" y="49867"/>
                  </a:lnTo>
                  <a:lnTo>
                    <a:pt x="466663" y="28702"/>
                  </a:lnTo>
                  <a:lnTo>
                    <a:pt x="422308" y="13046"/>
                  </a:lnTo>
                  <a:lnTo>
                    <a:pt x="375532" y="3334"/>
                  </a:lnTo>
                  <a:lnTo>
                    <a:pt x="326761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14">
            <a:extLst>
              <a:ext uri="{FF2B5EF4-FFF2-40B4-BE49-F238E27FC236}">
                <a16:creationId xmlns:a16="http://schemas.microsoft.com/office/drawing/2014/main" id="{E920B87E-EB30-C29A-7725-F098B0CD9403}"/>
              </a:ext>
            </a:extLst>
          </p:cNvPr>
          <p:cNvSpPr/>
          <p:nvPr userDrawn="1"/>
        </p:nvSpPr>
        <p:spPr>
          <a:xfrm rot="10800000">
            <a:off x="11050480" y="5292007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982533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8454618" y="-21266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C08C7F-F671-37EF-FA4F-14868BE5D34B}"/>
              </a:ext>
            </a:extLst>
          </p:cNvPr>
          <p:cNvGrpSpPr/>
          <p:nvPr userDrawn="1"/>
        </p:nvGrpSpPr>
        <p:grpSpPr>
          <a:xfrm>
            <a:off x="391375" y="5191214"/>
            <a:ext cx="2957963" cy="1664692"/>
            <a:chOff x="391375" y="5191214"/>
            <a:chExt cx="2957963" cy="1664692"/>
          </a:xfrm>
        </p:grpSpPr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7CF38E78-8B18-E2DD-57F6-5A3EBF4CFBF8}"/>
                </a:ext>
              </a:extLst>
            </p:cNvPr>
            <p:cNvSpPr/>
            <p:nvPr/>
          </p:nvSpPr>
          <p:spPr>
            <a:xfrm>
              <a:off x="1985572" y="6805678"/>
              <a:ext cx="238965" cy="50095"/>
            </a:xfrm>
            <a:custGeom>
              <a:avLst/>
              <a:gdLst/>
              <a:ahLst/>
              <a:cxnLst/>
              <a:rect l="l" t="t" r="r" b="b"/>
              <a:pathLst>
                <a:path w="263525" h="55245">
                  <a:moveTo>
                    <a:pt x="131560" y="0"/>
                  </a:moveTo>
                  <a:lnTo>
                    <a:pt x="87719" y="5131"/>
                  </a:lnTo>
                  <a:lnTo>
                    <a:pt x="47474" y="19749"/>
                  </a:lnTo>
                  <a:lnTo>
                    <a:pt x="11974" y="42686"/>
                  </a:lnTo>
                  <a:lnTo>
                    <a:pt x="0" y="54855"/>
                  </a:lnTo>
                  <a:lnTo>
                    <a:pt x="263121" y="54855"/>
                  </a:lnTo>
                  <a:lnTo>
                    <a:pt x="251147" y="42686"/>
                  </a:lnTo>
                  <a:lnTo>
                    <a:pt x="215647" y="19749"/>
                  </a:lnTo>
                  <a:lnTo>
                    <a:pt x="175402" y="5131"/>
                  </a:lnTo>
                  <a:lnTo>
                    <a:pt x="131560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01B1EF4C-ACBC-8DF2-F98F-A520632D49A8}"/>
                </a:ext>
              </a:extLst>
            </p:cNvPr>
            <p:cNvSpPr/>
            <p:nvPr/>
          </p:nvSpPr>
          <p:spPr>
            <a:xfrm>
              <a:off x="3002119" y="6641559"/>
              <a:ext cx="347219" cy="214205"/>
            </a:xfrm>
            <a:custGeom>
              <a:avLst/>
              <a:gdLst/>
              <a:ahLst/>
              <a:cxnLst/>
              <a:rect l="l" t="t" r="r" b="b"/>
              <a:pathLst>
                <a:path w="382904" h="2362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4706" y="235840"/>
                  </a:lnTo>
                  <a:lnTo>
                    <a:pt x="377689" y="235840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C69F5CB4-EE4D-3E00-9E24-A5394A4C5C0E}"/>
                </a:ext>
              </a:extLst>
            </p:cNvPr>
            <p:cNvSpPr/>
            <p:nvPr/>
          </p:nvSpPr>
          <p:spPr>
            <a:xfrm>
              <a:off x="2877401" y="6040817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4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D5CB64B5-EAB4-764D-E33F-11B3A4C5099E}"/>
                </a:ext>
              </a:extLst>
            </p:cNvPr>
            <p:cNvSpPr/>
            <p:nvPr/>
          </p:nvSpPr>
          <p:spPr>
            <a:xfrm>
              <a:off x="2210807" y="6183673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9">
              <a:extLst>
                <a:ext uri="{FF2B5EF4-FFF2-40B4-BE49-F238E27FC236}">
                  <a16:creationId xmlns:a16="http://schemas.microsoft.com/office/drawing/2014/main" id="{544E0DFF-B974-C185-F664-2BB8D65D3E1C}"/>
                </a:ext>
              </a:extLst>
            </p:cNvPr>
            <p:cNvSpPr/>
            <p:nvPr/>
          </p:nvSpPr>
          <p:spPr>
            <a:xfrm>
              <a:off x="1993834" y="5340502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0">
              <a:extLst>
                <a:ext uri="{FF2B5EF4-FFF2-40B4-BE49-F238E27FC236}">
                  <a16:creationId xmlns:a16="http://schemas.microsoft.com/office/drawing/2014/main" id="{BAF8C586-5508-CCC1-A9F6-94AC7AFA27D1}"/>
                </a:ext>
              </a:extLst>
            </p:cNvPr>
            <p:cNvSpPr/>
            <p:nvPr/>
          </p:nvSpPr>
          <p:spPr>
            <a:xfrm>
              <a:off x="391375" y="5191214"/>
              <a:ext cx="1400967" cy="1664692"/>
            </a:xfrm>
            <a:custGeom>
              <a:avLst/>
              <a:gdLst/>
              <a:ahLst/>
              <a:cxnLst/>
              <a:rect l="l" t="t" r="r" b="b"/>
              <a:pathLst>
                <a:path w="1544955" h="1835784">
                  <a:moveTo>
                    <a:pt x="925999" y="0"/>
                  </a:moveTo>
                  <a:lnTo>
                    <a:pt x="880349" y="10091"/>
                  </a:lnTo>
                  <a:lnTo>
                    <a:pt x="838161" y="31783"/>
                  </a:lnTo>
                  <a:lnTo>
                    <a:pt x="801852" y="64835"/>
                  </a:lnTo>
                  <a:lnTo>
                    <a:pt x="775520" y="106276"/>
                  </a:lnTo>
                  <a:lnTo>
                    <a:pt x="761475" y="151656"/>
                  </a:lnTo>
                  <a:lnTo>
                    <a:pt x="759491" y="198513"/>
                  </a:lnTo>
                  <a:lnTo>
                    <a:pt x="769344" y="244387"/>
                  </a:lnTo>
                  <a:lnTo>
                    <a:pt x="790808" y="286817"/>
                  </a:lnTo>
                  <a:lnTo>
                    <a:pt x="823658" y="323343"/>
                  </a:lnTo>
                  <a:lnTo>
                    <a:pt x="831988" y="330759"/>
                  </a:lnTo>
                  <a:lnTo>
                    <a:pt x="849099" y="347051"/>
                  </a:lnTo>
                  <a:lnTo>
                    <a:pt x="903479" y="405526"/>
                  </a:lnTo>
                  <a:lnTo>
                    <a:pt x="937656" y="447339"/>
                  </a:lnTo>
                  <a:lnTo>
                    <a:pt x="974430" y="497291"/>
                  </a:lnTo>
                  <a:lnTo>
                    <a:pt x="1012254" y="555196"/>
                  </a:lnTo>
                  <a:lnTo>
                    <a:pt x="1049583" y="620872"/>
                  </a:lnTo>
                  <a:lnTo>
                    <a:pt x="1084872" y="694132"/>
                  </a:lnTo>
                  <a:lnTo>
                    <a:pt x="513257" y="694132"/>
                  </a:lnTo>
                  <a:lnTo>
                    <a:pt x="463952" y="704088"/>
                  </a:lnTo>
                  <a:lnTo>
                    <a:pt x="423684" y="731237"/>
                  </a:lnTo>
                  <a:lnTo>
                    <a:pt x="396532" y="771504"/>
                  </a:lnTo>
                  <a:lnTo>
                    <a:pt x="386575" y="820815"/>
                  </a:lnTo>
                  <a:lnTo>
                    <a:pt x="396532" y="870120"/>
                  </a:lnTo>
                  <a:lnTo>
                    <a:pt x="423684" y="910388"/>
                  </a:lnTo>
                  <a:lnTo>
                    <a:pt x="463952" y="937540"/>
                  </a:lnTo>
                  <a:lnTo>
                    <a:pt x="513257" y="947497"/>
                  </a:lnTo>
                  <a:lnTo>
                    <a:pt x="1161059" y="947497"/>
                  </a:lnTo>
                  <a:lnTo>
                    <a:pt x="1168059" y="994539"/>
                  </a:lnTo>
                  <a:lnTo>
                    <a:pt x="1173078" y="1043098"/>
                  </a:lnTo>
                  <a:lnTo>
                    <a:pt x="1175954" y="1093166"/>
                  </a:lnTo>
                  <a:lnTo>
                    <a:pt x="1176527" y="1144733"/>
                  </a:lnTo>
                  <a:lnTo>
                    <a:pt x="1174633" y="1197788"/>
                  </a:lnTo>
                  <a:lnTo>
                    <a:pt x="1170114" y="1252323"/>
                  </a:lnTo>
                  <a:lnTo>
                    <a:pt x="1163053" y="1251103"/>
                  </a:lnTo>
                  <a:lnTo>
                    <a:pt x="1155890" y="1250138"/>
                  </a:lnTo>
                  <a:lnTo>
                    <a:pt x="126682" y="1250138"/>
                  </a:lnTo>
                  <a:lnTo>
                    <a:pt x="77372" y="1260095"/>
                  </a:lnTo>
                  <a:lnTo>
                    <a:pt x="37104" y="1287248"/>
                  </a:lnTo>
                  <a:lnTo>
                    <a:pt x="9955" y="1327516"/>
                  </a:lnTo>
                  <a:lnTo>
                    <a:pt x="0" y="1376821"/>
                  </a:lnTo>
                  <a:lnTo>
                    <a:pt x="9955" y="1426133"/>
                  </a:lnTo>
                  <a:lnTo>
                    <a:pt x="37104" y="1466405"/>
                  </a:lnTo>
                  <a:lnTo>
                    <a:pt x="77372" y="1493559"/>
                  </a:lnTo>
                  <a:lnTo>
                    <a:pt x="126682" y="1503516"/>
                  </a:lnTo>
                  <a:lnTo>
                    <a:pt x="1109611" y="1503516"/>
                  </a:lnTo>
                  <a:lnTo>
                    <a:pt x="1091637" y="1549292"/>
                  </a:lnTo>
                  <a:lnTo>
                    <a:pt x="1071709" y="1595118"/>
                  </a:lnTo>
                  <a:lnTo>
                    <a:pt x="1049893" y="1640986"/>
                  </a:lnTo>
                  <a:lnTo>
                    <a:pt x="1026255" y="1686883"/>
                  </a:lnTo>
                  <a:lnTo>
                    <a:pt x="1000859" y="1732802"/>
                  </a:lnTo>
                  <a:lnTo>
                    <a:pt x="973771" y="1778731"/>
                  </a:lnTo>
                  <a:lnTo>
                    <a:pt x="945057" y="1824661"/>
                  </a:lnTo>
                  <a:lnTo>
                    <a:pt x="182283" y="1824661"/>
                  </a:lnTo>
                  <a:lnTo>
                    <a:pt x="132972" y="1834618"/>
                  </a:lnTo>
                  <a:lnTo>
                    <a:pt x="132035" y="1835250"/>
                  </a:lnTo>
                  <a:lnTo>
                    <a:pt x="1365030" y="1835250"/>
                  </a:lnTo>
                  <a:lnTo>
                    <a:pt x="1398211" y="1767887"/>
                  </a:lnTo>
                  <a:lnTo>
                    <a:pt x="1416703" y="1726988"/>
                  </a:lnTo>
                  <a:lnTo>
                    <a:pt x="1434056" y="1685916"/>
                  </a:lnTo>
                  <a:lnTo>
                    <a:pt x="1450240" y="1644667"/>
                  </a:lnTo>
                  <a:lnTo>
                    <a:pt x="1465225" y="1603237"/>
                  </a:lnTo>
                  <a:lnTo>
                    <a:pt x="1478982" y="1561625"/>
                  </a:lnTo>
                  <a:lnTo>
                    <a:pt x="1491481" y="1519827"/>
                  </a:lnTo>
                  <a:lnTo>
                    <a:pt x="1502692" y="1477840"/>
                  </a:lnTo>
                  <a:lnTo>
                    <a:pt x="1512585" y="1435660"/>
                  </a:lnTo>
                  <a:lnTo>
                    <a:pt x="1521130" y="1393285"/>
                  </a:lnTo>
                  <a:lnTo>
                    <a:pt x="1528298" y="1350711"/>
                  </a:lnTo>
                  <a:lnTo>
                    <a:pt x="1534058" y="1307936"/>
                  </a:lnTo>
                  <a:lnTo>
                    <a:pt x="1541211" y="1230596"/>
                  </a:lnTo>
                  <a:lnTo>
                    <a:pt x="1544382" y="1155425"/>
                  </a:lnTo>
                  <a:lnTo>
                    <a:pt x="1543828" y="1082452"/>
                  </a:lnTo>
                  <a:lnTo>
                    <a:pt x="1539804" y="1011702"/>
                  </a:lnTo>
                  <a:lnTo>
                    <a:pt x="1532569" y="943204"/>
                  </a:lnTo>
                  <a:lnTo>
                    <a:pt x="1522380" y="876984"/>
                  </a:lnTo>
                  <a:lnTo>
                    <a:pt x="1509492" y="813069"/>
                  </a:lnTo>
                  <a:lnTo>
                    <a:pt x="1494164" y="751487"/>
                  </a:lnTo>
                  <a:lnTo>
                    <a:pt x="1476653" y="692264"/>
                  </a:lnTo>
                  <a:lnTo>
                    <a:pt x="1457214" y="635429"/>
                  </a:lnTo>
                  <a:lnTo>
                    <a:pt x="1436106" y="581007"/>
                  </a:lnTo>
                  <a:lnTo>
                    <a:pt x="1413584" y="529026"/>
                  </a:lnTo>
                  <a:lnTo>
                    <a:pt x="1389907" y="479514"/>
                  </a:lnTo>
                  <a:lnTo>
                    <a:pt x="1365331" y="432497"/>
                  </a:lnTo>
                  <a:lnTo>
                    <a:pt x="1340113" y="388002"/>
                  </a:lnTo>
                  <a:lnTo>
                    <a:pt x="1314510" y="346057"/>
                  </a:lnTo>
                  <a:lnTo>
                    <a:pt x="1288779" y="306688"/>
                  </a:lnTo>
                  <a:lnTo>
                    <a:pt x="1263177" y="269924"/>
                  </a:lnTo>
                  <a:lnTo>
                    <a:pt x="1237961" y="235790"/>
                  </a:lnTo>
                  <a:lnTo>
                    <a:pt x="1213388" y="204314"/>
                  </a:lnTo>
                  <a:lnTo>
                    <a:pt x="1167198" y="149446"/>
                  </a:lnTo>
                  <a:lnTo>
                    <a:pt x="1126663" y="105535"/>
                  </a:lnTo>
                  <a:lnTo>
                    <a:pt x="1093839" y="72800"/>
                  </a:lnTo>
                  <a:lnTo>
                    <a:pt x="1059548" y="41721"/>
                  </a:lnTo>
                  <a:lnTo>
                    <a:pt x="1018016" y="15575"/>
                  </a:lnTo>
                  <a:lnTo>
                    <a:pt x="972694" y="1748"/>
                  </a:lnTo>
                  <a:lnTo>
                    <a:pt x="925999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520" y="1882770"/>
            <a:ext cx="8910320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" y="6114954"/>
            <a:ext cx="8924387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4AA4F7D3-F6E8-EAB2-F7FF-BD27C0DB60AC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E917381C-8FE5-3CAD-273B-51DCDB6727F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6EC3B691-15D3-272C-C984-5D8D7AB4D44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26C44628-116B-F318-B8E0-DE32F2332BC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5" name="object 14">
            <a:extLst>
              <a:ext uri="{FF2B5EF4-FFF2-40B4-BE49-F238E27FC236}">
                <a16:creationId xmlns:a16="http://schemas.microsoft.com/office/drawing/2014/main" id="{45F4DC08-150F-4A25-716A-90191F21FDC9}"/>
              </a:ext>
            </a:extLst>
          </p:cNvPr>
          <p:cNvSpPr/>
          <p:nvPr userDrawn="1"/>
        </p:nvSpPr>
        <p:spPr>
          <a:xfrm rot="10800000">
            <a:off x="-308147" y="5862122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01D5C4C6-F307-4C2A-EEA2-C7230077C63A}"/>
              </a:ext>
            </a:extLst>
          </p:cNvPr>
          <p:cNvSpPr/>
          <p:nvPr userDrawn="1"/>
        </p:nvSpPr>
        <p:spPr>
          <a:xfrm rot="10800000">
            <a:off x="-650" y="6776735"/>
            <a:ext cx="360745" cy="37506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ED0436A5-966C-D05D-FD27-2ED35FF09750}"/>
              </a:ext>
            </a:extLst>
          </p:cNvPr>
          <p:cNvSpPr/>
          <p:nvPr userDrawn="1"/>
        </p:nvSpPr>
        <p:spPr>
          <a:xfrm rot="10800000">
            <a:off x="8761227" y="264563"/>
            <a:ext cx="262322" cy="27273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B1D59208-AF3F-67F9-AFEE-0B79028CDC85}"/>
              </a:ext>
            </a:extLst>
          </p:cNvPr>
          <p:cNvSpPr/>
          <p:nvPr userDrawn="1"/>
        </p:nvSpPr>
        <p:spPr>
          <a:xfrm rot="10800000">
            <a:off x="8268251" y="-287815"/>
            <a:ext cx="492976" cy="51254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870" y="593213"/>
            <a:ext cx="8910320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8585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520" y="365125"/>
            <a:ext cx="6475989" cy="4355493"/>
          </a:xfrm>
        </p:spPr>
        <p:txBody>
          <a:bodyPr anchor="t" anchorCtr="0">
            <a:normAutofit/>
          </a:bodyPr>
          <a:lstStyle>
            <a:lvl1pPr>
              <a:defRPr sz="44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520" y="4862945"/>
            <a:ext cx="6475989" cy="49137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6347" y="6127750"/>
            <a:ext cx="892732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F387DD09-C436-5F8E-8C10-75D345EE965A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66244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835" y="365125"/>
            <a:ext cx="7232073" cy="4355493"/>
          </a:xfrm>
        </p:spPr>
        <p:txBody>
          <a:bodyPr anchor="t" anchorCtr="0">
            <a:normAutofit/>
          </a:bodyPr>
          <a:lstStyle>
            <a:lvl1pPr algn="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1836" y="4862945"/>
            <a:ext cx="7232072" cy="440575"/>
          </a:xfrm>
        </p:spPr>
        <p:txBody>
          <a:bodyPr anchor="t" anchorCtr="0">
            <a:normAutofit/>
          </a:bodyPr>
          <a:lstStyle>
            <a:lvl1pPr marL="0" indent="0" algn="r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840" y="6127750"/>
            <a:ext cx="88900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FB453B0D-C8DF-80FC-EEDE-35EBA33A3EB9}"/>
              </a:ext>
            </a:extLst>
          </p:cNvPr>
          <p:cNvSpPr/>
          <p:nvPr userDrawn="1"/>
        </p:nvSpPr>
        <p:spPr>
          <a:xfrm>
            <a:off x="108938" y="-20309"/>
            <a:ext cx="3349537" cy="4281787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0A79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12109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365125"/>
            <a:ext cx="6479308" cy="4355493"/>
          </a:xfrm>
        </p:spPr>
        <p:txBody>
          <a:bodyPr anchor="t" anchorCtr="0">
            <a:norm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862945"/>
            <a:ext cx="6479307" cy="50153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127750"/>
            <a:ext cx="89306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BACCD77F-6A9E-76FD-8A3A-2FBB9E8A1FB5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9D62E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6441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C7B287D-6B69-02D5-6050-7FEFF483FD0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54500" y="62408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EDCDDA5-3A8E-2128-C19E-103FF1AA9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51466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673720-C835-BE5C-5C80-3FD8DB241F01}"/>
              </a:ext>
            </a:extLst>
          </p:cNvPr>
          <p:cNvSpPr/>
          <p:nvPr userDrawn="1"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46D95486-8AE6-9324-FF15-FB06241C299A}"/>
              </a:ext>
            </a:extLst>
          </p:cNvPr>
          <p:cNvSpPr/>
          <p:nvPr userDrawn="1"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EE743A1-10E0-9B86-6AD1-E9B92D62DCE7}"/>
              </a:ext>
            </a:extLst>
          </p:cNvPr>
          <p:cNvSpPr/>
          <p:nvPr userDrawn="1"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E8D99936-C791-EC50-A678-76F12A1EC831}"/>
              </a:ext>
            </a:extLst>
          </p:cNvPr>
          <p:cNvSpPr/>
          <p:nvPr userDrawn="1"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3A7B13D2-0D85-68C1-7844-658E315F6177}"/>
              </a:ext>
            </a:extLst>
          </p:cNvPr>
          <p:cNvSpPr/>
          <p:nvPr userDrawn="1"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01DC0EFC-6C93-BFA0-523B-FE355A921294}"/>
              </a:ext>
            </a:extLst>
          </p:cNvPr>
          <p:cNvSpPr/>
          <p:nvPr userDrawn="1"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34D1CC05-DC4E-8B38-D132-6D0E40FCB802}"/>
              </a:ext>
            </a:extLst>
          </p:cNvPr>
          <p:cNvSpPr/>
          <p:nvPr userDrawn="1"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3439139F-F645-CA8D-5BF1-27B8526442E2}"/>
              </a:ext>
            </a:extLst>
          </p:cNvPr>
          <p:cNvSpPr/>
          <p:nvPr userDrawn="1"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C70859E-DCA5-87BD-ACBD-C84DD8CAD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965953D-FE9D-4CC7-8DA0-75C83642EE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086041" y="43104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5546EC1-A810-BD21-641C-B8D3468803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80B015F-1A06-9783-C83F-0B002E388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841" y="28384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38238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  <a:solidFill>
            <a:srgbClr val="FFFFFF">
              <a:alpha val="14902"/>
            </a:srgbClr>
          </a:solidFill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0C06F99-8172-DCE1-7EFE-FF4F105EC10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937730" y="-624301"/>
            <a:ext cx="8682510" cy="856593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D5A134A-9500-7361-A12A-6B671873C9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B2A364B-A6CD-5EAF-DE9C-A1C82F55A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543559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0151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8709D87-BA1C-72DE-952F-21C692F1E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7208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9598" y="0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E02B544-A40A-C2C8-B48C-6F244BD0DFB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84881" y="-715900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A84FDF-B4A9-904D-3D86-7133D1D60D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367280"/>
            <a:ext cx="5360276" cy="3657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D8A16EC-8618-0864-AC9B-EAB51A18B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881" y="1483360"/>
            <a:ext cx="6492239" cy="75596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10324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7467FD7-B03A-A783-6DAD-BFE1F429ED7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249137" y="-881221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C0E5294-F5B4-77CF-A37F-AB562DD1B1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661920"/>
            <a:ext cx="5634596" cy="3078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39FECD-897F-06F3-56D7-FC72D58F9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8881" y="1615440"/>
            <a:ext cx="5709919" cy="90709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6180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-121920" y="-4957"/>
            <a:ext cx="1231976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-121920" y="-389572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6294C19-5D10-1A71-B204-31C0C2A5477A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69931" y="-897413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4356BD6-1C5C-9AA4-5362-F5FAC5EFE6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6EAF454-36EC-DCFE-55B7-5195E0BEF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90640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6A941DA-EEFE-1DF4-35CF-14C8B0F4F25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635760" y="-683147"/>
            <a:ext cx="7573873" cy="721259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18BAC3E-9C24-5719-CA3D-F7A0323717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9A3552-8D5D-6609-37CC-BB86F389B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1" y="77152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29659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7">
            <a:extLst>
              <a:ext uri="{FF2B5EF4-FFF2-40B4-BE49-F238E27FC236}">
                <a16:creationId xmlns:a16="http://schemas.microsoft.com/office/drawing/2014/main" id="{C5CC3C5B-20F5-EDF1-6350-FE204957F054}"/>
              </a:ext>
            </a:extLst>
          </p:cNvPr>
          <p:cNvSpPr/>
          <p:nvPr/>
        </p:nvSpPr>
        <p:spPr>
          <a:xfrm>
            <a:off x="15163" y="2303"/>
            <a:ext cx="12271379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226669" y="6831254"/>
                </a:moveTo>
                <a:lnTo>
                  <a:pt x="223977" y="6784530"/>
                </a:lnTo>
                <a:lnTo>
                  <a:pt x="216090" y="6739382"/>
                </a:lnTo>
                <a:lnTo>
                  <a:pt x="203314" y="6696126"/>
                </a:lnTo>
                <a:lnTo>
                  <a:pt x="185940" y="6655054"/>
                </a:lnTo>
                <a:lnTo>
                  <a:pt x="164287" y="6616459"/>
                </a:lnTo>
                <a:lnTo>
                  <a:pt x="138645" y="6580657"/>
                </a:lnTo>
                <a:lnTo>
                  <a:pt x="109308" y="6547929"/>
                </a:lnTo>
                <a:lnTo>
                  <a:pt x="76593" y="6518605"/>
                </a:lnTo>
                <a:lnTo>
                  <a:pt x="40792" y="6492964"/>
                </a:lnTo>
                <a:lnTo>
                  <a:pt x="2197" y="6471310"/>
                </a:lnTo>
                <a:lnTo>
                  <a:pt x="0" y="6470370"/>
                </a:lnTo>
                <a:lnTo>
                  <a:pt x="0" y="7192124"/>
                </a:lnTo>
                <a:lnTo>
                  <a:pt x="40792" y="7169531"/>
                </a:lnTo>
                <a:lnTo>
                  <a:pt x="76593" y="7143890"/>
                </a:lnTo>
                <a:lnTo>
                  <a:pt x="109308" y="7114565"/>
                </a:lnTo>
                <a:lnTo>
                  <a:pt x="138645" y="7081837"/>
                </a:lnTo>
                <a:lnTo>
                  <a:pt x="164287" y="7046036"/>
                </a:lnTo>
                <a:lnTo>
                  <a:pt x="185940" y="7007453"/>
                </a:lnTo>
                <a:lnTo>
                  <a:pt x="203314" y="6966382"/>
                </a:lnTo>
                <a:lnTo>
                  <a:pt x="216090" y="6923125"/>
                </a:lnTo>
                <a:lnTo>
                  <a:pt x="223977" y="6877977"/>
                </a:lnTo>
                <a:lnTo>
                  <a:pt x="226669" y="6831254"/>
                </a:lnTo>
                <a:close/>
              </a:path>
              <a:path w="13428344" h="7560309">
                <a:moveTo>
                  <a:pt x="570217" y="5353024"/>
                </a:moveTo>
                <a:lnTo>
                  <a:pt x="568934" y="5305234"/>
                </a:lnTo>
                <a:lnTo>
                  <a:pt x="565111" y="5258117"/>
                </a:lnTo>
                <a:lnTo>
                  <a:pt x="558812" y="5211737"/>
                </a:lnTo>
                <a:lnTo>
                  <a:pt x="550125" y="5166169"/>
                </a:lnTo>
                <a:lnTo>
                  <a:pt x="539102" y="5121478"/>
                </a:lnTo>
                <a:lnTo>
                  <a:pt x="525818" y="5077714"/>
                </a:lnTo>
                <a:lnTo>
                  <a:pt x="510324" y="5034966"/>
                </a:lnTo>
                <a:lnTo>
                  <a:pt x="492696" y="4993284"/>
                </a:lnTo>
                <a:lnTo>
                  <a:pt x="472998" y="4952746"/>
                </a:lnTo>
                <a:lnTo>
                  <a:pt x="451294" y="4913401"/>
                </a:lnTo>
                <a:lnTo>
                  <a:pt x="427659" y="4875339"/>
                </a:lnTo>
                <a:lnTo>
                  <a:pt x="402158" y="4838611"/>
                </a:lnTo>
                <a:lnTo>
                  <a:pt x="374853" y="4803292"/>
                </a:lnTo>
                <a:lnTo>
                  <a:pt x="345821" y="4769434"/>
                </a:lnTo>
                <a:lnTo>
                  <a:pt x="315099" y="4737125"/>
                </a:lnTo>
                <a:lnTo>
                  <a:pt x="282790" y="4706417"/>
                </a:lnTo>
                <a:lnTo>
                  <a:pt x="248932" y="4677372"/>
                </a:lnTo>
                <a:lnTo>
                  <a:pt x="213614" y="4650067"/>
                </a:lnTo>
                <a:lnTo>
                  <a:pt x="176885" y="4624565"/>
                </a:lnTo>
                <a:lnTo>
                  <a:pt x="138823" y="4600930"/>
                </a:lnTo>
                <a:lnTo>
                  <a:pt x="99479" y="4579226"/>
                </a:lnTo>
                <a:lnTo>
                  <a:pt x="58940" y="4559541"/>
                </a:lnTo>
                <a:lnTo>
                  <a:pt x="17259" y="4541913"/>
                </a:lnTo>
                <a:lnTo>
                  <a:pt x="0" y="4535652"/>
                </a:lnTo>
                <a:lnTo>
                  <a:pt x="0" y="6170409"/>
                </a:lnTo>
                <a:lnTo>
                  <a:pt x="58940" y="6146520"/>
                </a:lnTo>
                <a:lnTo>
                  <a:pt x="99479" y="6126823"/>
                </a:lnTo>
                <a:lnTo>
                  <a:pt x="138823" y="6105118"/>
                </a:lnTo>
                <a:lnTo>
                  <a:pt x="176885" y="6081496"/>
                </a:lnTo>
                <a:lnTo>
                  <a:pt x="213614" y="6055982"/>
                </a:lnTo>
                <a:lnTo>
                  <a:pt x="248932" y="6028677"/>
                </a:lnTo>
                <a:lnTo>
                  <a:pt x="282790" y="5999645"/>
                </a:lnTo>
                <a:lnTo>
                  <a:pt x="315099" y="5968924"/>
                </a:lnTo>
                <a:lnTo>
                  <a:pt x="345821" y="5936615"/>
                </a:lnTo>
                <a:lnTo>
                  <a:pt x="374853" y="5902757"/>
                </a:lnTo>
                <a:lnTo>
                  <a:pt x="402158" y="5867438"/>
                </a:lnTo>
                <a:lnTo>
                  <a:pt x="427659" y="5830709"/>
                </a:lnTo>
                <a:lnTo>
                  <a:pt x="451294" y="5792648"/>
                </a:lnTo>
                <a:lnTo>
                  <a:pt x="472998" y="5753316"/>
                </a:lnTo>
                <a:lnTo>
                  <a:pt x="492696" y="5712765"/>
                </a:lnTo>
                <a:lnTo>
                  <a:pt x="510324" y="5671083"/>
                </a:lnTo>
                <a:lnTo>
                  <a:pt x="525818" y="5628335"/>
                </a:lnTo>
                <a:lnTo>
                  <a:pt x="539102" y="5584583"/>
                </a:lnTo>
                <a:lnTo>
                  <a:pt x="550125" y="5539879"/>
                </a:lnTo>
                <a:lnTo>
                  <a:pt x="558812" y="5494312"/>
                </a:lnTo>
                <a:lnTo>
                  <a:pt x="565111" y="5447931"/>
                </a:lnTo>
                <a:lnTo>
                  <a:pt x="568934" y="5400814"/>
                </a:lnTo>
                <a:lnTo>
                  <a:pt x="570217" y="5353024"/>
                </a:lnTo>
                <a:close/>
              </a:path>
              <a:path w="13428344" h="7560309">
                <a:moveTo>
                  <a:pt x="2835325" y="6635394"/>
                </a:moveTo>
                <a:lnTo>
                  <a:pt x="2834322" y="6586918"/>
                </a:lnTo>
                <a:lnTo>
                  <a:pt x="2831325" y="6538963"/>
                </a:lnTo>
                <a:lnTo>
                  <a:pt x="2826397" y="6491567"/>
                </a:lnTo>
                <a:lnTo>
                  <a:pt x="2819552" y="6444755"/>
                </a:lnTo>
                <a:lnTo>
                  <a:pt x="2810840" y="6398565"/>
                </a:lnTo>
                <a:lnTo>
                  <a:pt x="2800312" y="6353061"/>
                </a:lnTo>
                <a:lnTo>
                  <a:pt x="2787980" y="6308268"/>
                </a:lnTo>
                <a:lnTo>
                  <a:pt x="2773921" y="6264224"/>
                </a:lnTo>
                <a:lnTo>
                  <a:pt x="2758148" y="6220968"/>
                </a:lnTo>
                <a:lnTo>
                  <a:pt x="2740698" y="6178550"/>
                </a:lnTo>
                <a:lnTo>
                  <a:pt x="2721635" y="6136995"/>
                </a:lnTo>
                <a:lnTo>
                  <a:pt x="2700985" y="6096355"/>
                </a:lnTo>
                <a:lnTo>
                  <a:pt x="2678773" y="6056668"/>
                </a:lnTo>
                <a:lnTo>
                  <a:pt x="2655062" y="6017971"/>
                </a:lnTo>
                <a:lnTo>
                  <a:pt x="2629890" y="5980303"/>
                </a:lnTo>
                <a:lnTo>
                  <a:pt x="2603284" y="5943701"/>
                </a:lnTo>
                <a:lnTo>
                  <a:pt x="2575293" y="5908218"/>
                </a:lnTo>
                <a:lnTo>
                  <a:pt x="2545943" y="5873877"/>
                </a:lnTo>
                <a:lnTo>
                  <a:pt x="2515298" y="5840730"/>
                </a:lnTo>
                <a:lnTo>
                  <a:pt x="2483370" y="5808802"/>
                </a:lnTo>
                <a:lnTo>
                  <a:pt x="2450223" y="5778157"/>
                </a:lnTo>
                <a:lnTo>
                  <a:pt x="2415883" y="5748807"/>
                </a:lnTo>
                <a:lnTo>
                  <a:pt x="2380399" y="5720816"/>
                </a:lnTo>
                <a:lnTo>
                  <a:pt x="2343797" y="5694210"/>
                </a:lnTo>
                <a:lnTo>
                  <a:pt x="2306129" y="5669026"/>
                </a:lnTo>
                <a:lnTo>
                  <a:pt x="2267432" y="5645315"/>
                </a:lnTo>
                <a:lnTo>
                  <a:pt x="2227732" y="5623115"/>
                </a:lnTo>
                <a:lnTo>
                  <a:pt x="2187092" y="5602465"/>
                </a:lnTo>
                <a:lnTo>
                  <a:pt x="2145550" y="5583390"/>
                </a:lnTo>
                <a:lnTo>
                  <a:pt x="2103120" y="5565953"/>
                </a:lnTo>
                <a:lnTo>
                  <a:pt x="2059876" y="5550179"/>
                </a:lnTo>
                <a:lnTo>
                  <a:pt x="2015832" y="5536108"/>
                </a:lnTo>
                <a:lnTo>
                  <a:pt x="1971040" y="5523789"/>
                </a:lnTo>
                <a:lnTo>
                  <a:pt x="1925523" y="5513260"/>
                </a:lnTo>
                <a:lnTo>
                  <a:pt x="1879346" y="5504548"/>
                </a:lnTo>
                <a:lnTo>
                  <a:pt x="1832533" y="5497703"/>
                </a:lnTo>
                <a:lnTo>
                  <a:pt x="1785137" y="5492762"/>
                </a:lnTo>
                <a:lnTo>
                  <a:pt x="1737169" y="5489778"/>
                </a:lnTo>
                <a:lnTo>
                  <a:pt x="1688706" y="5488775"/>
                </a:lnTo>
                <a:lnTo>
                  <a:pt x="1640243" y="5489778"/>
                </a:lnTo>
                <a:lnTo>
                  <a:pt x="1592275" y="5492762"/>
                </a:lnTo>
                <a:lnTo>
                  <a:pt x="1544878" y="5497703"/>
                </a:lnTo>
                <a:lnTo>
                  <a:pt x="1498066" y="5504548"/>
                </a:lnTo>
                <a:lnTo>
                  <a:pt x="1451889" y="5513260"/>
                </a:lnTo>
                <a:lnTo>
                  <a:pt x="1406372" y="5523789"/>
                </a:lnTo>
                <a:lnTo>
                  <a:pt x="1361579" y="5536108"/>
                </a:lnTo>
                <a:lnTo>
                  <a:pt x="1317536" y="5550179"/>
                </a:lnTo>
                <a:lnTo>
                  <a:pt x="1274292" y="5565953"/>
                </a:lnTo>
                <a:lnTo>
                  <a:pt x="1231861" y="5583390"/>
                </a:lnTo>
                <a:lnTo>
                  <a:pt x="1190320" y="5602465"/>
                </a:lnTo>
                <a:lnTo>
                  <a:pt x="1149680" y="5623115"/>
                </a:lnTo>
                <a:lnTo>
                  <a:pt x="1109980" y="5645315"/>
                </a:lnTo>
                <a:lnTo>
                  <a:pt x="1071283" y="5669026"/>
                </a:lnTo>
                <a:lnTo>
                  <a:pt x="1033614" y="5694210"/>
                </a:lnTo>
                <a:lnTo>
                  <a:pt x="997013" y="5720816"/>
                </a:lnTo>
                <a:lnTo>
                  <a:pt x="961529" y="5748807"/>
                </a:lnTo>
                <a:lnTo>
                  <a:pt x="927188" y="5778157"/>
                </a:lnTo>
                <a:lnTo>
                  <a:pt x="894041" y="5808802"/>
                </a:lnTo>
                <a:lnTo>
                  <a:pt x="862114" y="5840730"/>
                </a:lnTo>
                <a:lnTo>
                  <a:pt x="831469" y="5873877"/>
                </a:lnTo>
                <a:lnTo>
                  <a:pt x="802119" y="5908218"/>
                </a:lnTo>
                <a:lnTo>
                  <a:pt x="774128" y="5943701"/>
                </a:lnTo>
                <a:lnTo>
                  <a:pt x="747522" y="5980303"/>
                </a:lnTo>
                <a:lnTo>
                  <a:pt x="722350" y="6017971"/>
                </a:lnTo>
                <a:lnTo>
                  <a:pt x="698639" y="6056668"/>
                </a:lnTo>
                <a:lnTo>
                  <a:pt x="676427" y="6096355"/>
                </a:lnTo>
                <a:lnTo>
                  <a:pt x="655777" y="6136995"/>
                </a:lnTo>
                <a:lnTo>
                  <a:pt x="636714" y="6178550"/>
                </a:lnTo>
                <a:lnTo>
                  <a:pt x="619264" y="6220968"/>
                </a:lnTo>
                <a:lnTo>
                  <a:pt x="603491" y="6264224"/>
                </a:lnTo>
                <a:lnTo>
                  <a:pt x="589432" y="6308268"/>
                </a:lnTo>
                <a:lnTo>
                  <a:pt x="577100" y="6353061"/>
                </a:lnTo>
                <a:lnTo>
                  <a:pt x="566572" y="6398565"/>
                </a:lnTo>
                <a:lnTo>
                  <a:pt x="557860" y="6444755"/>
                </a:lnTo>
                <a:lnTo>
                  <a:pt x="551014" y="6491567"/>
                </a:lnTo>
                <a:lnTo>
                  <a:pt x="546087" y="6538963"/>
                </a:lnTo>
                <a:lnTo>
                  <a:pt x="543090" y="6586918"/>
                </a:lnTo>
                <a:lnTo>
                  <a:pt x="542086" y="6635394"/>
                </a:lnTo>
                <a:lnTo>
                  <a:pt x="543090" y="6683857"/>
                </a:lnTo>
                <a:lnTo>
                  <a:pt x="546087" y="6731813"/>
                </a:lnTo>
                <a:lnTo>
                  <a:pt x="551014" y="6779222"/>
                </a:lnTo>
                <a:lnTo>
                  <a:pt x="557860" y="6826034"/>
                </a:lnTo>
                <a:lnTo>
                  <a:pt x="566572" y="6872211"/>
                </a:lnTo>
                <a:lnTo>
                  <a:pt x="577100" y="6917715"/>
                </a:lnTo>
                <a:lnTo>
                  <a:pt x="589432" y="6962508"/>
                </a:lnTo>
                <a:lnTo>
                  <a:pt x="603491" y="7006552"/>
                </a:lnTo>
                <a:lnTo>
                  <a:pt x="619264" y="7049808"/>
                </a:lnTo>
                <a:lnTo>
                  <a:pt x="636714" y="7092226"/>
                </a:lnTo>
                <a:lnTo>
                  <a:pt x="655777" y="7133780"/>
                </a:lnTo>
                <a:lnTo>
                  <a:pt x="676427" y="7174420"/>
                </a:lnTo>
                <a:lnTo>
                  <a:pt x="698639" y="7214108"/>
                </a:lnTo>
                <a:lnTo>
                  <a:pt x="722350" y="7252805"/>
                </a:lnTo>
                <a:lnTo>
                  <a:pt x="747522" y="7290473"/>
                </a:lnTo>
                <a:lnTo>
                  <a:pt x="774128" y="7327074"/>
                </a:lnTo>
                <a:lnTo>
                  <a:pt x="802119" y="7362571"/>
                </a:lnTo>
                <a:lnTo>
                  <a:pt x="831469" y="7396912"/>
                </a:lnTo>
                <a:lnTo>
                  <a:pt x="862114" y="7430059"/>
                </a:lnTo>
                <a:lnTo>
                  <a:pt x="894041" y="7461974"/>
                </a:lnTo>
                <a:lnTo>
                  <a:pt x="927188" y="7492632"/>
                </a:lnTo>
                <a:lnTo>
                  <a:pt x="961529" y="7521969"/>
                </a:lnTo>
                <a:lnTo>
                  <a:pt x="997013" y="7549972"/>
                </a:lnTo>
                <a:lnTo>
                  <a:pt x="1010831" y="7560005"/>
                </a:lnTo>
                <a:lnTo>
                  <a:pt x="2366581" y="7560005"/>
                </a:lnTo>
                <a:lnTo>
                  <a:pt x="2415883" y="7521969"/>
                </a:lnTo>
                <a:lnTo>
                  <a:pt x="2450223" y="7492632"/>
                </a:lnTo>
                <a:lnTo>
                  <a:pt x="2483370" y="7461974"/>
                </a:lnTo>
                <a:lnTo>
                  <a:pt x="2515298" y="7430059"/>
                </a:lnTo>
                <a:lnTo>
                  <a:pt x="2545943" y="7396912"/>
                </a:lnTo>
                <a:lnTo>
                  <a:pt x="2575293" y="7362571"/>
                </a:lnTo>
                <a:lnTo>
                  <a:pt x="2603284" y="7327074"/>
                </a:lnTo>
                <a:lnTo>
                  <a:pt x="2629890" y="7290473"/>
                </a:lnTo>
                <a:lnTo>
                  <a:pt x="2655062" y="7252805"/>
                </a:lnTo>
                <a:lnTo>
                  <a:pt x="2678773" y="7214108"/>
                </a:lnTo>
                <a:lnTo>
                  <a:pt x="2700985" y="7174420"/>
                </a:lnTo>
                <a:lnTo>
                  <a:pt x="2721635" y="7133780"/>
                </a:lnTo>
                <a:lnTo>
                  <a:pt x="2740698" y="7092226"/>
                </a:lnTo>
                <a:lnTo>
                  <a:pt x="2758148" y="7049808"/>
                </a:lnTo>
                <a:lnTo>
                  <a:pt x="2773921" y="7006552"/>
                </a:lnTo>
                <a:lnTo>
                  <a:pt x="2787980" y="6962508"/>
                </a:lnTo>
                <a:lnTo>
                  <a:pt x="2800312" y="6917715"/>
                </a:lnTo>
                <a:lnTo>
                  <a:pt x="2810840" y="6872211"/>
                </a:lnTo>
                <a:lnTo>
                  <a:pt x="2819552" y="6826034"/>
                </a:lnTo>
                <a:lnTo>
                  <a:pt x="2826397" y="6779222"/>
                </a:lnTo>
                <a:lnTo>
                  <a:pt x="2831325" y="6731813"/>
                </a:lnTo>
                <a:lnTo>
                  <a:pt x="2834322" y="6683857"/>
                </a:lnTo>
                <a:lnTo>
                  <a:pt x="2835325" y="6635394"/>
                </a:lnTo>
                <a:close/>
              </a:path>
              <a:path w="13428344" h="7560309">
                <a:moveTo>
                  <a:pt x="2872587" y="5132197"/>
                </a:moveTo>
                <a:lnTo>
                  <a:pt x="2869895" y="5085473"/>
                </a:lnTo>
                <a:lnTo>
                  <a:pt x="2862008" y="5040338"/>
                </a:lnTo>
                <a:lnTo>
                  <a:pt x="2849232" y="4997069"/>
                </a:lnTo>
                <a:lnTo>
                  <a:pt x="2831858" y="4955997"/>
                </a:lnTo>
                <a:lnTo>
                  <a:pt x="2810205" y="4917402"/>
                </a:lnTo>
                <a:lnTo>
                  <a:pt x="2784564" y="4881600"/>
                </a:lnTo>
                <a:lnTo>
                  <a:pt x="2755239" y="4848885"/>
                </a:lnTo>
                <a:lnTo>
                  <a:pt x="2722511" y="4819548"/>
                </a:lnTo>
                <a:lnTo>
                  <a:pt x="2686710" y="4793907"/>
                </a:lnTo>
                <a:lnTo>
                  <a:pt x="2648115" y="4772253"/>
                </a:lnTo>
                <a:lnTo>
                  <a:pt x="2607043" y="4754892"/>
                </a:lnTo>
                <a:lnTo>
                  <a:pt x="2563787" y="4742116"/>
                </a:lnTo>
                <a:lnTo>
                  <a:pt x="2518638" y="4734230"/>
                </a:lnTo>
                <a:lnTo>
                  <a:pt x="2471915" y="4731524"/>
                </a:lnTo>
                <a:lnTo>
                  <a:pt x="2425192" y="4734230"/>
                </a:lnTo>
                <a:lnTo>
                  <a:pt x="2380043" y="4742116"/>
                </a:lnTo>
                <a:lnTo>
                  <a:pt x="2336787" y="4754892"/>
                </a:lnTo>
                <a:lnTo>
                  <a:pt x="2295715" y="4772253"/>
                </a:lnTo>
                <a:lnTo>
                  <a:pt x="2257120" y="4793907"/>
                </a:lnTo>
                <a:lnTo>
                  <a:pt x="2221319" y="4819548"/>
                </a:lnTo>
                <a:lnTo>
                  <a:pt x="2188603" y="4848885"/>
                </a:lnTo>
                <a:lnTo>
                  <a:pt x="2159266" y="4881600"/>
                </a:lnTo>
                <a:lnTo>
                  <a:pt x="2133625" y="4917402"/>
                </a:lnTo>
                <a:lnTo>
                  <a:pt x="2111972" y="4955997"/>
                </a:lnTo>
                <a:lnTo>
                  <a:pt x="2094598" y="4997069"/>
                </a:lnTo>
                <a:lnTo>
                  <a:pt x="2081822" y="5040338"/>
                </a:lnTo>
                <a:lnTo>
                  <a:pt x="2073935" y="5085473"/>
                </a:lnTo>
                <a:lnTo>
                  <a:pt x="2071243" y="5132197"/>
                </a:lnTo>
                <a:lnTo>
                  <a:pt x="2073935" y="5178933"/>
                </a:lnTo>
                <a:lnTo>
                  <a:pt x="2081822" y="5224069"/>
                </a:lnTo>
                <a:lnTo>
                  <a:pt x="2094598" y="5267337"/>
                </a:lnTo>
                <a:lnTo>
                  <a:pt x="2111972" y="5308409"/>
                </a:lnTo>
                <a:lnTo>
                  <a:pt x="2133625" y="5346992"/>
                </a:lnTo>
                <a:lnTo>
                  <a:pt x="2159266" y="5382793"/>
                </a:lnTo>
                <a:lnTo>
                  <a:pt x="2188603" y="5415508"/>
                </a:lnTo>
                <a:lnTo>
                  <a:pt x="2221319" y="5444845"/>
                </a:lnTo>
                <a:lnTo>
                  <a:pt x="2257120" y="5470487"/>
                </a:lnTo>
                <a:lnTo>
                  <a:pt x="2295715" y="5492140"/>
                </a:lnTo>
                <a:lnTo>
                  <a:pt x="2336787" y="5509501"/>
                </a:lnTo>
                <a:lnTo>
                  <a:pt x="2380043" y="5522277"/>
                </a:lnTo>
                <a:lnTo>
                  <a:pt x="2425192" y="5530164"/>
                </a:lnTo>
                <a:lnTo>
                  <a:pt x="2471915" y="5532856"/>
                </a:lnTo>
                <a:lnTo>
                  <a:pt x="2518638" y="5530164"/>
                </a:lnTo>
                <a:lnTo>
                  <a:pt x="2563787" y="5522277"/>
                </a:lnTo>
                <a:lnTo>
                  <a:pt x="2607043" y="5509501"/>
                </a:lnTo>
                <a:lnTo>
                  <a:pt x="2648115" y="5492140"/>
                </a:lnTo>
                <a:lnTo>
                  <a:pt x="2686710" y="5470487"/>
                </a:lnTo>
                <a:lnTo>
                  <a:pt x="2722511" y="5444845"/>
                </a:lnTo>
                <a:lnTo>
                  <a:pt x="2755239" y="5415508"/>
                </a:lnTo>
                <a:lnTo>
                  <a:pt x="2784564" y="5382793"/>
                </a:lnTo>
                <a:lnTo>
                  <a:pt x="2810205" y="5346992"/>
                </a:lnTo>
                <a:lnTo>
                  <a:pt x="2831858" y="5308409"/>
                </a:lnTo>
                <a:lnTo>
                  <a:pt x="2849232" y="5267337"/>
                </a:lnTo>
                <a:lnTo>
                  <a:pt x="2862008" y="5224069"/>
                </a:lnTo>
                <a:lnTo>
                  <a:pt x="2869895" y="5178933"/>
                </a:lnTo>
                <a:lnTo>
                  <a:pt x="2872587" y="5132197"/>
                </a:lnTo>
                <a:close/>
              </a:path>
              <a:path w="13428344" h="7560309">
                <a:moveTo>
                  <a:pt x="3311982" y="5582005"/>
                </a:moveTo>
                <a:lnTo>
                  <a:pt x="3307931" y="5536819"/>
                </a:lnTo>
                <a:lnTo>
                  <a:pt x="3296259" y="5494274"/>
                </a:lnTo>
                <a:lnTo>
                  <a:pt x="3277666" y="5455107"/>
                </a:lnTo>
                <a:lnTo>
                  <a:pt x="3252863" y="5420017"/>
                </a:lnTo>
                <a:lnTo>
                  <a:pt x="3222561" y="5389715"/>
                </a:lnTo>
                <a:lnTo>
                  <a:pt x="3187471" y="5364912"/>
                </a:lnTo>
                <a:lnTo>
                  <a:pt x="3148292" y="5346319"/>
                </a:lnTo>
                <a:lnTo>
                  <a:pt x="3105759" y="5334635"/>
                </a:lnTo>
                <a:lnTo>
                  <a:pt x="3060560" y="5330583"/>
                </a:lnTo>
                <a:lnTo>
                  <a:pt x="3015373" y="5334635"/>
                </a:lnTo>
                <a:lnTo>
                  <a:pt x="2972828" y="5346319"/>
                </a:lnTo>
                <a:lnTo>
                  <a:pt x="2933662" y="5364912"/>
                </a:lnTo>
                <a:lnTo>
                  <a:pt x="2898571" y="5389715"/>
                </a:lnTo>
                <a:lnTo>
                  <a:pt x="2868269" y="5420017"/>
                </a:lnTo>
                <a:lnTo>
                  <a:pt x="2843453" y="5455107"/>
                </a:lnTo>
                <a:lnTo>
                  <a:pt x="2824861" y="5494274"/>
                </a:lnTo>
                <a:lnTo>
                  <a:pt x="2813177" y="5536819"/>
                </a:lnTo>
                <a:lnTo>
                  <a:pt x="2809125" y="5582005"/>
                </a:lnTo>
                <a:lnTo>
                  <a:pt x="2813177" y="5627205"/>
                </a:lnTo>
                <a:lnTo>
                  <a:pt x="2824861" y="5669737"/>
                </a:lnTo>
                <a:lnTo>
                  <a:pt x="2843453" y="5708904"/>
                </a:lnTo>
                <a:lnTo>
                  <a:pt x="2868269" y="5744007"/>
                </a:lnTo>
                <a:lnTo>
                  <a:pt x="2898571" y="5774309"/>
                </a:lnTo>
                <a:lnTo>
                  <a:pt x="2933662" y="5799112"/>
                </a:lnTo>
                <a:lnTo>
                  <a:pt x="2972828" y="5817705"/>
                </a:lnTo>
                <a:lnTo>
                  <a:pt x="3015373" y="5829389"/>
                </a:lnTo>
                <a:lnTo>
                  <a:pt x="3060560" y="5833440"/>
                </a:lnTo>
                <a:lnTo>
                  <a:pt x="3105759" y="5829389"/>
                </a:lnTo>
                <a:lnTo>
                  <a:pt x="3148292" y="5817705"/>
                </a:lnTo>
                <a:lnTo>
                  <a:pt x="3187471" y="5799112"/>
                </a:lnTo>
                <a:lnTo>
                  <a:pt x="3222561" y="5774309"/>
                </a:lnTo>
                <a:lnTo>
                  <a:pt x="3252863" y="5744007"/>
                </a:lnTo>
                <a:lnTo>
                  <a:pt x="3277666" y="5708904"/>
                </a:lnTo>
                <a:lnTo>
                  <a:pt x="3296259" y="5669737"/>
                </a:lnTo>
                <a:lnTo>
                  <a:pt x="3307931" y="5627205"/>
                </a:lnTo>
                <a:lnTo>
                  <a:pt x="3311982" y="5582005"/>
                </a:lnTo>
                <a:close/>
              </a:path>
              <a:path w="13428344" h="7560309">
                <a:moveTo>
                  <a:pt x="6244856" y="2232571"/>
                </a:moveTo>
                <a:lnTo>
                  <a:pt x="6240805" y="2187384"/>
                </a:lnTo>
                <a:lnTo>
                  <a:pt x="6229121" y="2144852"/>
                </a:lnTo>
                <a:lnTo>
                  <a:pt x="6210528" y="2105685"/>
                </a:lnTo>
                <a:lnTo>
                  <a:pt x="6185725" y="2070595"/>
                </a:lnTo>
                <a:lnTo>
                  <a:pt x="6155423" y="2040280"/>
                </a:lnTo>
                <a:lnTo>
                  <a:pt x="6120320" y="2015477"/>
                </a:lnTo>
                <a:lnTo>
                  <a:pt x="6081153" y="1996884"/>
                </a:lnTo>
                <a:lnTo>
                  <a:pt x="6038621" y="1985200"/>
                </a:lnTo>
                <a:lnTo>
                  <a:pt x="5993422" y="1981149"/>
                </a:lnTo>
                <a:lnTo>
                  <a:pt x="5948223" y="1985200"/>
                </a:lnTo>
                <a:lnTo>
                  <a:pt x="5905690" y="1996884"/>
                </a:lnTo>
                <a:lnTo>
                  <a:pt x="5866523" y="2015477"/>
                </a:lnTo>
                <a:lnTo>
                  <a:pt x="5831433" y="2040280"/>
                </a:lnTo>
                <a:lnTo>
                  <a:pt x="5801118" y="2070595"/>
                </a:lnTo>
                <a:lnTo>
                  <a:pt x="5776315" y="2105685"/>
                </a:lnTo>
                <a:lnTo>
                  <a:pt x="5757723" y="2144852"/>
                </a:lnTo>
                <a:lnTo>
                  <a:pt x="5746039" y="2187384"/>
                </a:lnTo>
                <a:lnTo>
                  <a:pt x="5741987" y="2232571"/>
                </a:lnTo>
                <a:lnTo>
                  <a:pt x="5746039" y="2277770"/>
                </a:lnTo>
                <a:lnTo>
                  <a:pt x="5757723" y="2320302"/>
                </a:lnTo>
                <a:lnTo>
                  <a:pt x="5776315" y="2359482"/>
                </a:lnTo>
                <a:lnTo>
                  <a:pt x="5801118" y="2394572"/>
                </a:lnTo>
                <a:lnTo>
                  <a:pt x="5831433" y="2424874"/>
                </a:lnTo>
                <a:lnTo>
                  <a:pt x="5866523" y="2449677"/>
                </a:lnTo>
                <a:lnTo>
                  <a:pt x="5905690" y="2468283"/>
                </a:lnTo>
                <a:lnTo>
                  <a:pt x="5948223" y="2479954"/>
                </a:lnTo>
                <a:lnTo>
                  <a:pt x="5993422" y="2484005"/>
                </a:lnTo>
                <a:lnTo>
                  <a:pt x="6038621" y="2479954"/>
                </a:lnTo>
                <a:lnTo>
                  <a:pt x="6081153" y="2468283"/>
                </a:lnTo>
                <a:lnTo>
                  <a:pt x="6120320" y="2449677"/>
                </a:lnTo>
                <a:lnTo>
                  <a:pt x="6155423" y="2424874"/>
                </a:lnTo>
                <a:lnTo>
                  <a:pt x="6185725" y="2394572"/>
                </a:lnTo>
                <a:lnTo>
                  <a:pt x="6210528" y="2359482"/>
                </a:lnTo>
                <a:lnTo>
                  <a:pt x="6229121" y="2320302"/>
                </a:lnTo>
                <a:lnTo>
                  <a:pt x="6240805" y="2277770"/>
                </a:lnTo>
                <a:lnTo>
                  <a:pt x="6244856" y="2232571"/>
                </a:lnTo>
                <a:close/>
              </a:path>
              <a:path w="13428344" h="7560309">
                <a:moveTo>
                  <a:pt x="6511226" y="750633"/>
                </a:moveTo>
                <a:lnTo>
                  <a:pt x="6510223" y="702170"/>
                </a:lnTo>
                <a:lnTo>
                  <a:pt x="6507239" y="654202"/>
                </a:lnTo>
                <a:lnTo>
                  <a:pt x="6502298" y="606806"/>
                </a:lnTo>
                <a:lnTo>
                  <a:pt x="6495453" y="559993"/>
                </a:lnTo>
                <a:lnTo>
                  <a:pt x="6486741" y="513816"/>
                </a:lnTo>
                <a:lnTo>
                  <a:pt x="6476212" y="468299"/>
                </a:lnTo>
                <a:lnTo>
                  <a:pt x="6463893" y="423506"/>
                </a:lnTo>
                <a:lnTo>
                  <a:pt x="6449822" y="379463"/>
                </a:lnTo>
                <a:lnTo>
                  <a:pt x="6434048" y="336219"/>
                </a:lnTo>
                <a:lnTo>
                  <a:pt x="6416611" y="293789"/>
                </a:lnTo>
                <a:lnTo>
                  <a:pt x="6397536" y="252247"/>
                </a:lnTo>
                <a:lnTo>
                  <a:pt x="6376886" y="211607"/>
                </a:lnTo>
                <a:lnTo>
                  <a:pt x="6354686" y="171907"/>
                </a:lnTo>
                <a:lnTo>
                  <a:pt x="6330975" y="133210"/>
                </a:lnTo>
                <a:lnTo>
                  <a:pt x="6305791" y="95542"/>
                </a:lnTo>
                <a:lnTo>
                  <a:pt x="6279185" y="58940"/>
                </a:lnTo>
                <a:lnTo>
                  <a:pt x="6251194" y="23456"/>
                </a:lnTo>
                <a:lnTo>
                  <a:pt x="6231153" y="0"/>
                </a:lnTo>
                <a:lnTo>
                  <a:pt x="4498073" y="0"/>
                </a:lnTo>
                <a:lnTo>
                  <a:pt x="4450029" y="58940"/>
                </a:lnTo>
                <a:lnTo>
                  <a:pt x="4423422" y="95542"/>
                </a:lnTo>
                <a:lnTo>
                  <a:pt x="4398251" y="133210"/>
                </a:lnTo>
                <a:lnTo>
                  <a:pt x="4374540" y="171907"/>
                </a:lnTo>
                <a:lnTo>
                  <a:pt x="4352341" y="211607"/>
                </a:lnTo>
                <a:lnTo>
                  <a:pt x="4331678" y="252247"/>
                </a:lnTo>
                <a:lnTo>
                  <a:pt x="4312615" y="293789"/>
                </a:lnTo>
                <a:lnTo>
                  <a:pt x="4295178" y="336219"/>
                </a:lnTo>
                <a:lnTo>
                  <a:pt x="4279404" y="379463"/>
                </a:lnTo>
                <a:lnTo>
                  <a:pt x="4265333" y="423506"/>
                </a:lnTo>
                <a:lnTo>
                  <a:pt x="4253014" y="468299"/>
                </a:lnTo>
                <a:lnTo>
                  <a:pt x="4242473" y="513816"/>
                </a:lnTo>
                <a:lnTo>
                  <a:pt x="4233773" y="559993"/>
                </a:lnTo>
                <a:lnTo>
                  <a:pt x="4226928" y="606806"/>
                </a:lnTo>
                <a:lnTo>
                  <a:pt x="4221988" y="654202"/>
                </a:lnTo>
                <a:lnTo>
                  <a:pt x="4219003" y="702170"/>
                </a:lnTo>
                <a:lnTo>
                  <a:pt x="4217987" y="750633"/>
                </a:lnTo>
                <a:lnTo>
                  <a:pt x="4219003" y="799096"/>
                </a:lnTo>
                <a:lnTo>
                  <a:pt x="4221988" y="847064"/>
                </a:lnTo>
                <a:lnTo>
                  <a:pt x="4226928" y="894461"/>
                </a:lnTo>
                <a:lnTo>
                  <a:pt x="4233773" y="941273"/>
                </a:lnTo>
                <a:lnTo>
                  <a:pt x="4242473" y="987450"/>
                </a:lnTo>
                <a:lnTo>
                  <a:pt x="4253014" y="1032967"/>
                </a:lnTo>
                <a:lnTo>
                  <a:pt x="4265333" y="1077760"/>
                </a:lnTo>
                <a:lnTo>
                  <a:pt x="4279404" y="1121803"/>
                </a:lnTo>
                <a:lnTo>
                  <a:pt x="4295178" y="1165047"/>
                </a:lnTo>
                <a:lnTo>
                  <a:pt x="4312615" y="1207477"/>
                </a:lnTo>
                <a:lnTo>
                  <a:pt x="4331678" y="1249019"/>
                </a:lnTo>
                <a:lnTo>
                  <a:pt x="4352341" y="1289659"/>
                </a:lnTo>
                <a:lnTo>
                  <a:pt x="4374540" y="1329359"/>
                </a:lnTo>
                <a:lnTo>
                  <a:pt x="4398251" y="1368056"/>
                </a:lnTo>
                <a:lnTo>
                  <a:pt x="4423422" y="1405724"/>
                </a:lnTo>
                <a:lnTo>
                  <a:pt x="4450029" y="1442326"/>
                </a:lnTo>
                <a:lnTo>
                  <a:pt x="4478032" y="1477810"/>
                </a:lnTo>
                <a:lnTo>
                  <a:pt x="4507369" y="1512150"/>
                </a:lnTo>
                <a:lnTo>
                  <a:pt x="4538027" y="1545297"/>
                </a:lnTo>
                <a:lnTo>
                  <a:pt x="4569942" y="1577225"/>
                </a:lnTo>
                <a:lnTo>
                  <a:pt x="4603102" y="1607870"/>
                </a:lnTo>
                <a:lnTo>
                  <a:pt x="4637430" y="1637220"/>
                </a:lnTo>
                <a:lnTo>
                  <a:pt x="4672927" y="1665211"/>
                </a:lnTo>
                <a:lnTo>
                  <a:pt x="4709528" y="1691817"/>
                </a:lnTo>
                <a:lnTo>
                  <a:pt x="4747196" y="1716989"/>
                </a:lnTo>
                <a:lnTo>
                  <a:pt x="4785893" y="1740700"/>
                </a:lnTo>
                <a:lnTo>
                  <a:pt x="4825581" y="1762912"/>
                </a:lnTo>
                <a:lnTo>
                  <a:pt x="4866221" y="1783562"/>
                </a:lnTo>
                <a:lnTo>
                  <a:pt x="4907775" y="1802625"/>
                </a:lnTo>
                <a:lnTo>
                  <a:pt x="4950193" y="1820075"/>
                </a:lnTo>
                <a:lnTo>
                  <a:pt x="4993449" y="1835848"/>
                </a:lnTo>
                <a:lnTo>
                  <a:pt x="5037493" y="1849907"/>
                </a:lnTo>
                <a:lnTo>
                  <a:pt x="5082286" y="1862239"/>
                </a:lnTo>
                <a:lnTo>
                  <a:pt x="5127790" y="1872767"/>
                </a:lnTo>
                <a:lnTo>
                  <a:pt x="5173967" y="1881479"/>
                </a:lnTo>
                <a:lnTo>
                  <a:pt x="5220779" y="1888324"/>
                </a:lnTo>
                <a:lnTo>
                  <a:pt x="5268188" y="1893252"/>
                </a:lnTo>
                <a:lnTo>
                  <a:pt x="5316144" y="1896249"/>
                </a:lnTo>
                <a:lnTo>
                  <a:pt x="5364607" y="1897253"/>
                </a:lnTo>
                <a:lnTo>
                  <a:pt x="5413083" y="1896249"/>
                </a:lnTo>
                <a:lnTo>
                  <a:pt x="5461038" y="1893252"/>
                </a:lnTo>
                <a:lnTo>
                  <a:pt x="5508447" y="1888324"/>
                </a:lnTo>
                <a:lnTo>
                  <a:pt x="5555246" y="1881479"/>
                </a:lnTo>
                <a:lnTo>
                  <a:pt x="5601436" y="1872767"/>
                </a:lnTo>
                <a:lnTo>
                  <a:pt x="5646940" y="1862239"/>
                </a:lnTo>
                <a:lnTo>
                  <a:pt x="5691733" y="1849907"/>
                </a:lnTo>
                <a:lnTo>
                  <a:pt x="5735777" y="1835848"/>
                </a:lnTo>
                <a:lnTo>
                  <a:pt x="5779033" y="1820075"/>
                </a:lnTo>
                <a:lnTo>
                  <a:pt x="5821451" y="1802625"/>
                </a:lnTo>
                <a:lnTo>
                  <a:pt x="5863006" y="1783562"/>
                </a:lnTo>
                <a:lnTo>
                  <a:pt x="5903646" y="1762912"/>
                </a:lnTo>
                <a:lnTo>
                  <a:pt x="5943333" y="1740700"/>
                </a:lnTo>
                <a:lnTo>
                  <a:pt x="5982030" y="1716989"/>
                </a:lnTo>
                <a:lnTo>
                  <a:pt x="6019698" y="1691817"/>
                </a:lnTo>
                <a:lnTo>
                  <a:pt x="6056300" y="1665211"/>
                </a:lnTo>
                <a:lnTo>
                  <a:pt x="6091783" y="1637220"/>
                </a:lnTo>
                <a:lnTo>
                  <a:pt x="6126124" y="1607870"/>
                </a:lnTo>
                <a:lnTo>
                  <a:pt x="6159271" y="1577225"/>
                </a:lnTo>
                <a:lnTo>
                  <a:pt x="6191199" y="1545297"/>
                </a:lnTo>
                <a:lnTo>
                  <a:pt x="6221857" y="1512150"/>
                </a:lnTo>
                <a:lnTo>
                  <a:pt x="6251194" y="1477810"/>
                </a:lnTo>
                <a:lnTo>
                  <a:pt x="6279185" y="1442326"/>
                </a:lnTo>
                <a:lnTo>
                  <a:pt x="6305791" y="1405724"/>
                </a:lnTo>
                <a:lnTo>
                  <a:pt x="6330975" y="1368056"/>
                </a:lnTo>
                <a:lnTo>
                  <a:pt x="6354686" y="1329359"/>
                </a:lnTo>
                <a:lnTo>
                  <a:pt x="6376886" y="1289659"/>
                </a:lnTo>
                <a:lnTo>
                  <a:pt x="6397536" y="1249019"/>
                </a:lnTo>
                <a:lnTo>
                  <a:pt x="6416611" y="1207477"/>
                </a:lnTo>
                <a:lnTo>
                  <a:pt x="6434048" y="1165047"/>
                </a:lnTo>
                <a:lnTo>
                  <a:pt x="6449822" y="1121803"/>
                </a:lnTo>
                <a:lnTo>
                  <a:pt x="6463893" y="1077760"/>
                </a:lnTo>
                <a:lnTo>
                  <a:pt x="6476212" y="1032967"/>
                </a:lnTo>
                <a:lnTo>
                  <a:pt x="6486741" y="987450"/>
                </a:lnTo>
                <a:lnTo>
                  <a:pt x="6495453" y="941273"/>
                </a:lnTo>
                <a:lnTo>
                  <a:pt x="6502298" y="894461"/>
                </a:lnTo>
                <a:lnTo>
                  <a:pt x="6507239" y="847064"/>
                </a:lnTo>
                <a:lnTo>
                  <a:pt x="6510223" y="799096"/>
                </a:lnTo>
                <a:lnTo>
                  <a:pt x="6511226" y="750633"/>
                </a:lnTo>
                <a:close/>
              </a:path>
              <a:path w="13428344" h="7560309">
                <a:moveTo>
                  <a:pt x="7263955" y="2331961"/>
                </a:moveTo>
                <a:lnTo>
                  <a:pt x="7261212" y="2284628"/>
                </a:lnTo>
                <a:lnTo>
                  <a:pt x="7253224" y="2238883"/>
                </a:lnTo>
                <a:lnTo>
                  <a:pt x="7240283" y="2195055"/>
                </a:lnTo>
                <a:lnTo>
                  <a:pt x="7222693" y="2153437"/>
                </a:lnTo>
                <a:lnTo>
                  <a:pt x="7200747" y="2114334"/>
                </a:lnTo>
                <a:lnTo>
                  <a:pt x="7174763" y="2078062"/>
                </a:lnTo>
                <a:lnTo>
                  <a:pt x="7145045" y="2044915"/>
                </a:lnTo>
                <a:lnTo>
                  <a:pt x="7111898" y="2015197"/>
                </a:lnTo>
                <a:lnTo>
                  <a:pt x="7075627" y="1989213"/>
                </a:lnTo>
                <a:lnTo>
                  <a:pt x="7036524" y="1967268"/>
                </a:lnTo>
                <a:lnTo>
                  <a:pt x="6994906" y="1949678"/>
                </a:lnTo>
                <a:lnTo>
                  <a:pt x="6951078" y="1936737"/>
                </a:lnTo>
                <a:lnTo>
                  <a:pt x="6905333" y="1928736"/>
                </a:lnTo>
                <a:lnTo>
                  <a:pt x="6858000" y="1926005"/>
                </a:lnTo>
                <a:lnTo>
                  <a:pt x="6810654" y="1928736"/>
                </a:lnTo>
                <a:lnTo>
                  <a:pt x="6764909" y="1936737"/>
                </a:lnTo>
                <a:lnTo>
                  <a:pt x="6721081" y="1949678"/>
                </a:lnTo>
                <a:lnTo>
                  <a:pt x="6679463" y="1967268"/>
                </a:lnTo>
                <a:lnTo>
                  <a:pt x="6640360" y="1989213"/>
                </a:lnTo>
                <a:lnTo>
                  <a:pt x="6604089" y="2015197"/>
                </a:lnTo>
                <a:lnTo>
                  <a:pt x="6570942" y="2044915"/>
                </a:lnTo>
                <a:lnTo>
                  <a:pt x="6541224" y="2078062"/>
                </a:lnTo>
                <a:lnTo>
                  <a:pt x="6515240" y="2114334"/>
                </a:lnTo>
                <a:lnTo>
                  <a:pt x="6493294" y="2153437"/>
                </a:lnTo>
                <a:lnTo>
                  <a:pt x="6475704" y="2195055"/>
                </a:lnTo>
                <a:lnTo>
                  <a:pt x="6462763" y="2238883"/>
                </a:lnTo>
                <a:lnTo>
                  <a:pt x="6454775" y="2284628"/>
                </a:lnTo>
                <a:lnTo>
                  <a:pt x="6452044" y="2331961"/>
                </a:lnTo>
                <a:lnTo>
                  <a:pt x="6454775" y="2379307"/>
                </a:lnTo>
                <a:lnTo>
                  <a:pt x="6462763" y="2425039"/>
                </a:lnTo>
                <a:lnTo>
                  <a:pt x="6475704" y="2468867"/>
                </a:lnTo>
                <a:lnTo>
                  <a:pt x="6493294" y="2510485"/>
                </a:lnTo>
                <a:lnTo>
                  <a:pt x="6515240" y="2549588"/>
                </a:lnTo>
                <a:lnTo>
                  <a:pt x="6541224" y="2585859"/>
                </a:lnTo>
                <a:lnTo>
                  <a:pt x="6570942" y="2619006"/>
                </a:lnTo>
                <a:lnTo>
                  <a:pt x="6604089" y="2648724"/>
                </a:lnTo>
                <a:lnTo>
                  <a:pt x="6640360" y="2674709"/>
                </a:lnTo>
                <a:lnTo>
                  <a:pt x="6679463" y="2696654"/>
                </a:lnTo>
                <a:lnTo>
                  <a:pt x="6721081" y="2714244"/>
                </a:lnTo>
                <a:lnTo>
                  <a:pt x="6764909" y="2727185"/>
                </a:lnTo>
                <a:lnTo>
                  <a:pt x="6810654" y="2735173"/>
                </a:lnTo>
                <a:lnTo>
                  <a:pt x="6858000" y="2737904"/>
                </a:lnTo>
                <a:lnTo>
                  <a:pt x="6905333" y="2735173"/>
                </a:lnTo>
                <a:lnTo>
                  <a:pt x="6951078" y="2727185"/>
                </a:lnTo>
                <a:lnTo>
                  <a:pt x="6994906" y="2714244"/>
                </a:lnTo>
                <a:lnTo>
                  <a:pt x="7036524" y="2696654"/>
                </a:lnTo>
                <a:lnTo>
                  <a:pt x="7075627" y="2674709"/>
                </a:lnTo>
                <a:lnTo>
                  <a:pt x="7111898" y="2648724"/>
                </a:lnTo>
                <a:lnTo>
                  <a:pt x="7145045" y="2619006"/>
                </a:lnTo>
                <a:lnTo>
                  <a:pt x="7174763" y="2585859"/>
                </a:lnTo>
                <a:lnTo>
                  <a:pt x="7200747" y="2549588"/>
                </a:lnTo>
                <a:lnTo>
                  <a:pt x="7222693" y="2510485"/>
                </a:lnTo>
                <a:lnTo>
                  <a:pt x="7240283" y="2468867"/>
                </a:lnTo>
                <a:lnTo>
                  <a:pt x="7253224" y="2425039"/>
                </a:lnTo>
                <a:lnTo>
                  <a:pt x="7261212" y="2379307"/>
                </a:lnTo>
                <a:lnTo>
                  <a:pt x="7263955" y="2331961"/>
                </a:lnTo>
                <a:close/>
              </a:path>
              <a:path w="13428344" h="7560309">
                <a:moveTo>
                  <a:pt x="9683991" y="6804571"/>
                </a:moveTo>
                <a:lnTo>
                  <a:pt x="9679940" y="6759384"/>
                </a:lnTo>
                <a:lnTo>
                  <a:pt x="9668256" y="6716852"/>
                </a:lnTo>
                <a:lnTo>
                  <a:pt x="9649663" y="6677685"/>
                </a:lnTo>
                <a:lnTo>
                  <a:pt x="9624860" y="6642595"/>
                </a:lnTo>
                <a:lnTo>
                  <a:pt x="9594558" y="6612280"/>
                </a:lnTo>
                <a:lnTo>
                  <a:pt x="9559468" y="6587477"/>
                </a:lnTo>
                <a:lnTo>
                  <a:pt x="9520301" y="6568884"/>
                </a:lnTo>
                <a:lnTo>
                  <a:pt x="9477756" y="6557200"/>
                </a:lnTo>
                <a:lnTo>
                  <a:pt x="9432569" y="6553149"/>
                </a:lnTo>
                <a:lnTo>
                  <a:pt x="9387370" y="6557200"/>
                </a:lnTo>
                <a:lnTo>
                  <a:pt x="9344838" y="6568884"/>
                </a:lnTo>
                <a:lnTo>
                  <a:pt x="9305658" y="6587477"/>
                </a:lnTo>
                <a:lnTo>
                  <a:pt x="9270568" y="6612280"/>
                </a:lnTo>
                <a:lnTo>
                  <a:pt x="9240266" y="6642595"/>
                </a:lnTo>
                <a:lnTo>
                  <a:pt x="9215463" y="6677685"/>
                </a:lnTo>
                <a:lnTo>
                  <a:pt x="9196857" y="6716852"/>
                </a:lnTo>
                <a:lnTo>
                  <a:pt x="9185186" y="6759384"/>
                </a:lnTo>
                <a:lnTo>
                  <a:pt x="9181135" y="6804571"/>
                </a:lnTo>
                <a:lnTo>
                  <a:pt x="9185186" y="6849770"/>
                </a:lnTo>
                <a:lnTo>
                  <a:pt x="9196857" y="6892303"/>
                </a:lnTo>
                <a:lnTo>
                  <a:pt x="9215463" y="6931482"/>
                </a:lnTo>
                <a:lnTo>
                  <a:pt x="9240266" y="6966572"/>
                </a:lnTo>
                <a:lnTo>
                  <a:pt x="9270568" y="6996874"/>
                </a:lnTo>
                <a:lnTo>
                  <a:pt x="9305658" y="7021677"/>
                </a:lnTo>
                <a:lnTo>
                  <a:pt x="9344838" y="7040283"/>
                </a:lnTo>
                <a:lnTo>
                  <a:pt x="9387370" y="7051954"/>
                </a:lnTo>
                <a:lnTo>
                  <a:pt x="9432569" y="7056006"/>
                </a:lnTo>
                <a:lnTo>
                  <a:pt x="9477756" y="7051954"/>
                </a:lnTo>
                <a:lnTo>
                  <a:pt x="9520301" y="7040283"/>
                </a:lnTo>
                <a:lnTo>
                  <a:pt x="9559468" y="7021677"/>
                </a:lnTo>
                <a:lnTo>
                  <a:pt x="9594558" y="6996874"/>
                </a:lnTo>
                <a:lnTo>
                  <a:pt x="9624860" y="6966572"/>
                </a:lnTo>
                <a:lnTo>
                  <a:pt x="9649663" y="6931482"/>
                </a:lnTo>
                <a:lnTo>
                  <a:pt x="9668256" y="6892303"/>
                </a:lnTo>
                <a:lnTo>
                  <a:pt x="9679940" y="6849770"/>
                </a:lnTo>
                <a:lnTo>
                  <a:pt x="9683991" y="6804571"/>
                </a:lnTo>
                <a:close/>
              </a:path>
              <a:path w="13428344" h="7560309">
                <a:moveTo>
                  <a:pt x="10395331" y="7534681"/>
                </a:moveTo>
                <a:lnTo>
                  <a:pt x="10392639" y="7487958"/>
                </a:lnTo>
                <a:lnTo>
                  <a:pt x="10384752" y="7442809"/>
                </a:lnTo>
                <a:lnTo>
                  <a:pt x="10371976" y="7399553"/>
                </a:lnTo>
                <a:lnTo>
                  <a:pt x="10354615" y="7358481"/>
                </a:lnTo>
                <a:lnTo>
                  <a:pt x="10332949" y="7319886"/>
                </a:lnTo>
                <a:lnTo>
                  <a:pt x="10307307" y="7284085"/>
                </a:lnTo>
                <a:lnTo>
                  <a:pt x="10277983" y="7251370"/>
                </a:lnTo>
                <a:lnTo>
                  <a:pt x="10245268" y="7222033"/>
                </a:lnTo>
                <a:lnTo>
                  <a:pt x="10209454" y="7196391"/>
                </a:lnTo>
                <a:lnTo>
                  <a:pt x="10170871" y="7174738"/>
                </a:lnTo>
                <a:lnTo>
                  <a:pt x="10129787" y="7157377"/>
                </a:lnTo>
                <a:lnTo>
                  <a:pt x="10086530" y="7144601"/>
                </a:lnTo>
                <a:lnTo>
                  <a:pt x="10041395" y="7136714"/>
                </a:lnTo>
                <a:lnTo>
                  <a:pt x="9994659" y="7134009"/>
                </a:lnTo>
                <a:lnTo>
                  <a:pt x="9947935" y="7136714"/>
                </a:lnTo>
                <a:lnTo>
                  <a:pt x="9902787" y="7144601"/>
                </a:lnTo>
                <a:lnTo>
                  <a:pt x="9859531" y="7157377"/>
                </a:lnTo>
                <a:lnTo>
                  <a:pt x="9818459" y="7174738"/>
                </a:lnTo>
                <a:lnTo>
                  <a:pt x="9779864" y="7196391"/>
                </a:lnTo>
                <a:lnTo>
                  <a:pt x="9744062" y="7222033"/>
                </a:lnTo>
                <a:lnTo>
                  <a:pt x="9711347" y="7251370"/>
                </a:lnTo>
                <a:lnTo>
                  <a:pt x="9682010" y="7284085"/>
                </a:lnTo>
                <a:lnTo>
                  <a:pt x="9656369" y="7319886"/>
                </a:lnTo>
                <a:lnTo>
                  <a:pt x="9634715" y="7358481"/>
                </a:lnTo>
                <a:lnTo>
                  <a:pt x="9617354" y="7399553"/>
                </a:lnTo>
                <a:lnTo>
                  <a:pt x="9604578" y="7442809"/>
                </a:lnTo>
                <a:lnTo>
                  <a:pt x="9596691" y="7487958"/>
                </a:lnTo>
                <a:lnTo>
                  <a:pt x="9593986" y="7534681"/>
                </a:lnTo>
                <a:lnTo>
                  <a:pt x="9595447" y="7560005"/>
                </a:lnTo>
                <a:lnTo>
                  <a:pt x="10393870" y="7560005"/>
                </a:lnTo>
                <a:lnTo>
                  <a:pt x="10395331" y="7534681"/>
                </a:lnTo>
                <a:close/>
              </a:path>
              <a:path w="13428344" h="7560309">
                <a:moveTo>
                  <a:pt x="10611333" y="6562687"/>
                </a:moveTo>
                <a:lnTo>
                  <a:pt x="10608640" y="6515963"/>
                </a:lnTo>
                <a:lnTo>
                  <a:pt x="10600754" y="6470815"/>
                </a:lnTo>
                <a:lnTo>
                  <a:pt x="10587977" y="6427559"/>
                </a:lnTo>
                <a:lnTo>
                  <a:pt x="10570604" y="6386474"/>
                </a:lnTo>
                <a:lnTo>
                  <a:pt x="10548950" y="6347892"/>
                </a:lnTo>
                <a:lnTo>
                  <a:pt x="10523309" y="6312090"/>
                </a:lnTo>
                <a:lnTo>
                  <a:pt x="10493985" y="6279362"/>
                </a:lnTo>
                <a:lnTo>
                  <a:pt x="10461257" y="6250038"/>
                </a:lnTo>
                <a:lnTo>
                  <a:pt x="10425455" y="6224397"/>
                </a:lnTo>
                <a:lnTo>
                  <a:pt x="10386873" y="6202731"/>
                </a:lnTo>
                <a:lnTo>
                  <a:pt x="10345788" y="6185370"/>
                </a:lnTo>
                <a:lnTo>
                  <a:pt x="10302532" y="6172593"/>
                </a:lnTo>
                <a:lnTo>
                  <a:pt x="10257384" y="6164707"/>
                </a:lnTo>
                <a:lnTo>
                  <a:pt x="10210660" y="6162014"/>
                </a:lnTo>
                <a:lnTo>
                  <a:pt x="10163937" y="6164707"/>
                </a:lnTo>
                <a:lnTo>
                  <a:pt x="10118788" y="6172593"/>
                </a:lnTo>
                <a:lnTo>
                  <a:pt x="10075532" y="6185370"/>
                </a:lnTo>
                <a:lnTo>
                  <a:pt x="10034460" y="6202731"/>
                </a:lnTo>
                <a:lnTo>
                  <a:pt x="9995865" y="6224397"/>
                </a:lnTo>
                <a:lnTo>
                  <a:pt x="9960064" y="6250038"/>
                </a:lnTo>
                <a:lnTo>
                  <a:pt x="9927349" y="6279362"/>
                </a:lnTo>
                <a:lnTo>
                  <a:pt x="9898012" y="6312090"/>
                </a:lnTo>
                <a:lnTo>
                  <a:pt x="9872370" y="6347892"/>
                </a:lnTo>
                <a:lnTo>
                  <a:pt x="9850717" y="6386474"/>
                </a:lnTo>
                <a:lnTo>
                  <a:pt x="9833343" y="6427559"/>
                </a:lnTo>
                <a:lnTo>
                  <a:pt x="9820567" y="6470815"/>
                </a:lnTo>
                <a:lnTo>
                  <a:pt x="9812680" y="6515963"/>
                </a:lnTo>
                <a:lnTo>
                  <a:pt x="9809988" y="6562687"/>
                </a:lnTo>
                <a:lnTo>
                  <a:pt x="9812680" y="6609410"/>
                </a:lnTo>
                <a:lnTo>
                  <a:pt x="9820567" y="6654559"/>
                </a:lnTo>
                <a:lnTo>
                  <a:pt x="9833343" y="6697815"/>
                </a:lnTo>
                <a:lnTo>
                  <a:pt x="9850717" y="6738887"/>
                </a:lnTo>
                <a:lnTo>
                  <a:pt x="9872370" y="6777482"/>
                </a:lnTo>
                <a:lnTo>
                  <a:pt x="9898012" y="6813283"/>
                </a:lnTo>
                <a:lnTo>
                  <a:pt x="9927349" y="6845998"/>
                </a:lnTo>
                <a:lnTo>
                  <a:pt x="9960064" y="6875323"/>
                </a:lnTo>
                <a:lnTo>
                  <a:pt x="9995865" y="6900964"/>
                </a:lnTo>
                <a:lnTo>
                  <a:pt x="10034460" y="6922617"/>
                </a:lnTo>
                <a:lnTo>
                  <a:pt x="10075532" y="6939991"/>
                </a:lnTo>
                <a:lnTo>
                  <a:pt x="10118788" y="6952767"/>
                </a:lnTo>
                <a:lnTo>
                  <a:pt x="10163937" y="6960654"/>
                </a:lnTo>
                <a:lnTo>
                  <a:pt x="10210660" y="6963346"/>
                </a:lnTo>
                <a:lnTo>
                  <a:pt x="10257384" y="6960654"/>
                </a:lnTo>
                <a:lnTo>
                  <a:pt x="10302532" y="6952767"/>
                </a:lnTo>
                <a:lnTo>
                  <a:pt x="10345788" y="6939991"/>
                </a:lnTo>
                <a:lnTo>
                  <a:pt x="10386873" y="6922617"/>
                </a:lnTo>
                <a:lnTo>
                  <a:pt x="10425455" y="6900964"/>
                </a:lnTo>
                <a:lnTo>
                  <a:pt x="10461257" y="6875323"/>
                </a:lnTo>
                <a:lnTo>
                  <a:pt x="10493985" y="6845998"/>
                </a:lnTo>
                <a:lnTo>
                  <a:pt x="10523309" y="6813283"/>
                </a:lnTo>
                <a:lnTo>
                  <a:pt x="10548950" y="6777482"/>
                </a:lnTo>
                <a:lnTo>
                  <a:pt x="10570604" y="6738887"/>
                </a:lnTo>
                <a:lnTo>
                  <a:pt x="10587977" y="6697815"/>
                </a:lnTo>
                <a:lnTo>
                  <a:pt x="10600754" y="6654559"/>
                </a:lnTo>
                <a:lnTo>
                  <a:pt x="10608640" y="6609410"/>
                </a:lnTo>
                <a:lnTo>
                  <a:pt x="10611333" y="6562687"/>
                </a:lnTo>
                <a:close/>
              </a:path>
              <a:path w="13428344" h="7560309">
                <a:moveTo>
                  <a:pt x="13427951" y="4216793"/>
                </a:moveTo>
                <a:lnTo>
                  <a:pt x="13384009" y="4191304"/>
                </a:lnTo>
                <a:lnTo>
                  <a:pt x="13342938" y="4173944"/>
                </a:lnTo>
                <a:lnTo>
                  <a:pt x="13299669" y="4161167"/>
                </a:lnTo>
                <a:lnTo>
                  <a:pt x="13254533" y="4153281"/>
                </a:lnTo>
                <a:lnTo>
                  <a:pt x="13207810" y="4150576"/>
                </a:lnTo>
                <a:lnTo>
                  <a:pt x="13161074" y="4153281"/>
                </a:lnTo>
                <a:lnTo>
                  <a:pt x="13115938" y="4161167"/>
                </a:lnTo>
                <a:lnTo>
                  <a:pt x="13072669" y="4173944"/>
                </a:lnTo>
                <a:lnTo>
                  <a:pt x="13031597" y="4191304"/>
                </a:lnTo>
                <a:lnTo>
                  <a:pt x="12993015" y="4212958"/>
                </a:lnTo>
                <a:lnTo>
                  <a:pt x="12957201" y="4238599"/>
                </a:lnTo>
                <a:lnTo>
                  <a:pt x="12924485" y="4267936"/>
                </a:lnTo>
                <a:lnTo>
                  <a:pt x="12895161" y="4300652"/>
                </a:lnTo>
                <a:lnTo>
                  <a:pt x="12869507" y="4336453"/>
                </a:lnTo>
                <a:lnTo>
                  <a:pt x="12847854" y="4375048"/>
                </a:lnTo>
                <a:lnTo>
                  <a:pt x="12830493" y="4416120"/>
                </a:lnTo>
                <a:lnTo>
                  <a:pt x="12817716" y="4459389"/>
                </a:lnTo>
                <a:lnTo>
                  <a:pt x="12809830" y="4504525"/>
                </a:lnTo>
                <a:lnTo>
                  <a:pt x="12807137" y="4551248"/>
                </a:lnTo>
                <a:lnTo>
                  <a:pt x="12809830" y="4597971"/>
                </a:lnTo>
                <a:lnTo>
                  <a:pt x="12817716" y="4643120"/>
                </a:lnTo>
                <a:lnTo>
                  <a:pt x="12830493" y="4686376"/>
                </a:lnTo>
                <a:lnTo>
                  <a:pt x="12847854" y="4727448"/>
                </a:lnTo>
                <a:lnTo>
                  <a:pt x="12869507" y="4766043"/>
                </a:lnTo>
                <a:lnTo>
                  <a:pt x="12895161" y="4801844"/>
                </a:lnTo>
                <a:lnTo>
                  <a:pt x="12924485" y="4834560"/>
                </a:lnTo>
                <a:lnTo>
                  <a:pt x="12957201" y="4863897"/>
                </a:lnTo>
                <a:lnTo>
                  <a:pt x="12993015" y="4889538"/>
                </a:lnTo>
                <a:lnTo>
                  <a:pt x="13031597" y="4911191"/>
                </a:lnTo>
                <a:lnTo>
                  <a:pt x="13072669" y="4928552"/>
                </a:lnTo>
                <a:lnTo>
                  <a:pt x="13115938" y="4941328"/>
                </a:lnTo>
                <a:lnTo>
                  <a:pt x="13161074" y="4949215"/>
                </a:lnTo>
                <a:lnTo>
                  <a:pt x="13207810" y="4951908"/>
                </a:lnTo>
                <a:lnTo>
                  <a:pt x="13254533" y="4949215"/>
                </a:lnTo>
                <a:lnTo>
                  <a:pt x="13299669" y="4941328"/>
                </a:lnTo>
                <a:lnTo>
                  <a:pt x="13342938" y="4928552"/>
                </a:lnTo>
                <a:lnTo>
                  <a:pt x="13384009" y="4911191"/>
                </a:lnTo>
                <a:lnTo>
                  <a:pt x="13422605" y="4889538"/>
                </a:lnTo>
                <a:lnTo>
                  <a:pt x="13427951" y="4885702"/>
                </a:lnTo>
                <a:lnTo>
                  <a:pt x="13427951" y="4216793"/>
                </a:lnTo>
                <a:close/>
              </a:path>
              <a:path w="13428344" h="7560309">
                <a:moveTo>
                  <a:pt x="13427951" y="2274125"/>
                </a:moveTo>
                <a:lnTo>
                  <a:pt x="13356323" y="2246414"/>
                </a:lnTo>
                <a:lnTo>
                  <a:pt x="13312559" y="2233130"/>
                </a:lnTo>
                <a:lnTo>
                  <a:pt x="13267868" y="2222106"/>
                </a:lnTo>
                <a:lnTo>
                  <a:pt x="13222300" y="2213419"/>
                </a:lnTo>
                <a:lnTo>
                  <a:pt x="13175920" y="2207120"/>
                </a:lnTo>
                <a:lnTo>
                  <a:pt x="13128803" y="2203297"/>
                </a:lnTo>
                <a:lnTo>
                  <a:pt x="13081013" y="2202015"/>
                </a:lnTo>
                <a:lnTo>
                  <a:pt x="13033223" y="2203297"/>
                </a:lnTo>
                <a:lnTo>
                  <a:pt x="12986106" y="2207120"/>
                </a:lnTo>
                <a:lnTo>
                  <a:pt x="12939725" y="2213419"/>
                </a:lnTo>
                <a:lnTo>
                  <a:pt x="12894158" y="2222106"/>
                </a:lnTo>
                <a:lnTo>
                  <a:pt x="12849454" y="2233130"/>
                </a:lnTo>
                <a:lnTo>
                  <a:pt x="12805702" y="2246414"/>
                </a:lnTo>
                <a:lnTo>
                  <a:pt x="12762954" y="2261908"/>
                </a:lnTo>
                <a:lnTo>
                  <a:pt x="12721273" y="2279535"/>
                </a:lnTo>
                <a:lnTo>
                  <a:pt x="12680722" y="2299233"/>
                </a:lnTo>
                <a:lnTo>
                  <a:pt x="12641390" y="2320937"/>
                </a:lnTo>
                <a:lnTo>
                  <a:pt x="12603328" y="2344572"/>
                </a:lnTo>
                <a:lnTo>
                  <a:pt x="12566599" y="2370074"/>
                </a:lnTo>
                <a:lnTo>
                  <a:pt x="12531281" y="2397379"/>
                </a:lnTo>
                <a:lnTo>
                  <a:pt x="12497422" y="2426411"/>
                </a:lnTo>
                <a:lnTo>
                  <a:pt x="12465114" y="2457132"/>
                </a:lnTo>
                <a:lnTo>
                  <a:pt x="12434392" y="2489441"/>
                </a:lnTo>
                <a:lnTo>
                  <a:pt x="12405360" y="2523299"/>
                </a:lnTo>
                <a:lnTo>
                  <a:pt x="12378055" y="2558618"/>
                </a:lnTo>
                <a:lnTo>
                  <a:pt x="12352541" y="2595346"/>
                </a:lnTo>
                <a:lnTo>
                  <a:pt x="12328919" y="2633408"/>
                </a:lnTo>
                <a:lnTo>
                  <a:pt x="12307214" y="2672753"/>
                </a:lnTo>
                <a:lnTo>
                  <a:pt x="12287517" y="2713291"/>
                </a:lnTo>
                <a:lnTo>
                  <a:pt x="12269889" y="2754973"/>
                </a:lnTo>
                <a:lnTo>
                  <a:pt x="12254395" y="2797721"/>
                </a:lnTo>
                <a:lnTo>
                  <a:pt x="12241111" y="2841485"/>
                </a:lnTo>
                <a:lnTo>
                  <a:pt x="12230087" y="2886176"/>
                </a:lnTo>
                <a:lnTo>
                  <a:pt x="12221388" y="2931744"/>
                </a:lnTo>
                <a:lnTo>
                  <a:pt x="12215101" y="2978124"/>
                </a:lnTo>
                <a:lnTo>
                  <a:pt x="12211279" y="3025241"/>
                </a:lnTo>
                <a:lnTo>
                  <a:pt x="12209996" y="3073031"/>
                </a:lnTo>
                <a:lnTo>
                  <a:pt x="12211279" y="3120821"/>
                </a:lnTo>
                <a:lnTo>
                  <a:pt x="12215101" y="3167938"/>
                </a:lnTo>
                <a:lnTo>
                  <a:pt x="12221388" y="3214319"/>
                </a:lnTo>
                <a:lnTo>
                  <a:pt x="12230087" y="3259886"/>
                </a:lnTo>
                <a:lnTo>
                  <a:pt x="12241111" y="3304578"/>
                </a:lnTo>
                <a:lnTo>
                  <a:pt x="12254395" y="3348342"/>
                </a:lnTo>
                <a:lnTo>
                  <a:pt x="12269889" y="3391090"/>
                </a:lnTo>
                <a:lnTo>
                  <a:pt x="12287517" y="3432772"/>
                </a:lnTo>
                <a:lnTo>
                  <a:pt x="12307214" y="3473310"/>
                </a:lnTo>
                <a:lnTo>
                  <a:pt x="12328919" y="3512655"/>
                </a:lnTo>
                <a:lnTo>
                  <a:pt x="12352541" y="3550716"/>
                </a:lnTo>
                <a:lnTo>
                  <a:pt x="12378055" y="3587445"/>
                </a:lnTo>
                <a:lnTo>
                  <a:pt x="12405360" y="3622764"/>
                </a:lnTo>
                <a:lnTo>
                  <a:pt x="12434392" y="3656622"/>
                </a:lnTo>
                <a:lnTo>
                  <a:pt x="12465114" y="3688931"/>
                </a:lnTo>
                <a:lnTo>
                  <a:pt x="12497422" y="3719639"/>
                </a:lnTo>
                <a:lnTo>
                  <a:pt x="12531281" y="3748684"/>
                </a:lnTo>
                <a:lnTo>
                  <a:pt x="12566599" y="3775989"/>
                </a:lnTo>
                <a:lnTo>
                  <a:pt x="12603328" y="3801491"/>
                </a:lnTo>
                <a:lnTo>
                  <a:pt x="12641390" y="3825125"/>
                </a:lnTo>
                <a:lnTo>
                  <a:pt x="12680722" y="3846830"/>
                </a:lnTo>
                <a:lnTo>
                  <a:pt x="12721273" y="3866527"/>
                </a:lnTo>
                <a:lnTo>
                  <a:pt x="12762954" y="3884155"/>
                </a:lnTo>
                <a:lnTo>
                  <a:pt x="12805702" y="3899636"/>
                </a:lnTo>
                <a:lnTo>
                  <a:pt x="12849454" y="3912933"/>
                </a:lnTo>
                <a:lnTo>
                  <a:pt x="12894158" y="3923957"/>
                </a:lnTo>
                <a:lnTo>
                  <a:pt x="12939725" y="3932644"/>
                </a:lnTo>
                <a:lnTo>
                  <a:pt x="12986106" y="3938930"/>
                </a:lnTo>
                <a:lnTo>
                  <a:pt x="13033223" y="3942753"/>
                </a:lnTo>
                <a:lnTo>
                  <a:pt x="13081013" y="3944048"/>
                </a:lnTo>
                <a:lnTo>
                  <a:pt x="13128803" y="3942753"/>
                </a:lnTo>
                <a:lnTo>
                  <a:pt x="13175920" y="3938930"/>
                </a:lnTo>
                <a:lnTo>
                  <a:pt x="13222300" y="3932644"/>
                </a:lnTo>
                <a:lnTo>
                  <a:pt x="13267868" y="3923957"/>
                </a:lnTo>
                <a:lnTo>
                  <a:pt x="13312559" y="3912933"/>
                </a:lnTo>
                <a:lnTo>
                  <a:pt x="13356323" y="3899636"/>
                </a:lnTo>
                <a:lnTo>
                  <a:pt x="13399072" y="3884155"/>
                </a:lnTo>
                <a:lnTo>
                  <a:pt x="13427951" y="3871938"/>
                </a:lnTo>
                <a:lnTo>
                  <a:pt x="13427951" y="2274125"/>
                </a:lnTo>
                <a:close/>
              </a:path>
            </a:pathLst>
          </a:custGeom>
          <a:solidFill>
            <a:srgbClr val="00AFFF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159032" y="323841"/>
            <a:ext cx="2409934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42828" y="4045890"/>
            <a:ext cx="2694661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BF7EEC-507A-5DAF-041E-6C88DA7CD3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59810" y="5994450"/>
            <a:ext cx="2177679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56A3293-0A25-9254-24C1-0102A4EFA6A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528540" y="569748"/>
            <a:ext cx="2993617" cy="295342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278CA799-987B-A375-4C17-9D3DEB73736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129092" y="2844799"/>
            <a:ext cx="5166198" cy="509683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0AD25F3-855C-5EB6-FE7B-3C66BC00A2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21221" y="-501494"/>
            <a:ext cx="3537548" cy="34900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296069B-042B-27A3-FD0E-ECE4DCE3A47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173795" y="3523173"/>
            <a:ext cx="2005782" cy="19788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24624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658028" y="4109545"/>
            <a:ext cx="4243583" cy="143685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8553A972-1E95-D470-43E7-20722BD9B698}"/>
              </a:ext>
            </a:extLst>
          </p:cNvPr>
          <p:cNvSpPr/>
          <p:nvPr userDrawn="1"/>
        </p:nvSpPr>
        <p:spPr>
          <a:xfrm>
            <a:off x="8504433" y="4290554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34" y="0"/>
                </a:moveTo>
                <a:lnTo>
                  <a:pt x="206239" y="4051"/>
                </a:lnTo>
                <a:lnTo>
                  <a:pt x="163701" y="15730"/>
                </a:lnTo>
                <a:lnTo>
                  <a:pt x="124531" y="34328"/>
                </a:lnTo>
                <a:lnTo>
                  <a:pt x="89439" y="59134"/>
                </a:lnTo>
                <a:lnTo>
                  <a:pt x="59134" y="89439"/>
                </a:lnTo>
                <a:lnTo>
                  <a:pt x="34328" y="124531"/>
                </a:lnTo>
                <a:lnTo>
                  <a:pt x="15730" y="163701"/>
                </a:lnTo>
                <a:lnTo>
                  <a:pt x="4051" y="206239"/>
                </a:lnTo>
                <a:lnTo>
                  <a:pt x="0" y="251434"/>
                </a:lnTo>
                <a:lnTo>
                  <a:pt x="4051" y="296626"/>
                </a:lnTo>
                <a:lnTo>
                  <a:pt x="15730" y="339160"/>
                </a:lnTo>
                <a:lnTo>
                  <a:pt x="34328" y="378328"/>
                </a:lnTo>
                <a:lnTo>
                  <a:pt x="59134" y="413419"/>
                </a:lnTo>
                <a:lnTo>
                  <a:pt x="89439" y="443722"/>
                </a:lnTo>
                <a:lnTo>
                  <a:pt x="124531" y="468528"/>
                </a:lnTo>
                <a:lnTo>
                  <a:pt x="163701" y="487126"/>
                </a:lnTo>
                <a:lnTo>
                  <a:pt x="206239" y="498805"/>
                </a:lnTo>
                <a:lnTo>
                  <a:pt x="251434" y="502856"/>
                </a:lnTo>
                <a:lnTo>
                  <a:pt x="296629" y="498805"/>
                </a:lnTo>
                <a:lnTo>
                  <a:pt x="339165" y="487126"/>
                </a:lnTo>
                <a:lnTo>
                  <a:pt x="378334" y="468528"/>
                </a:lnTo>
                <a:lnTo>
                  <a:pt x="413424" y="443722"/>
                </a:lnTo>
                <a:lnTo>
                  <a:pt x="443726" y="413419"/>
                </a:lnTo>
                <a:lnTo>
                  <a:pt x="468531" y="378328"/>
                </a:lnTo>
                <a:lnTo>
                  <a:pt x="487127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7" y="163701"/>
                </a:lnTo>
                <a:lnTo>
                  <a:pt x="468531" y="124531"/>
                </a:lnTo>
                <a:lnTo>
                  <a:pt x="443726" y="89439"/>
                </a:lnTo>
                <a:lnTo>
                  <a:pt x="413424" y="59134"/>
                </a:lnTo>
                <a:lnTo>
                  <a:pt x="378334" y="34328"/>
                </a:lnTo>
                <a:lnTo>
                  <a:pt x="339165" y="15730"/>
                </a:lnTo>
                <a:lnTo>
                  <a:pt x="296629" y="4051"/>
                </a:lnTo>
                <a:lnTo>
                  <a:pt x="251434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745FCC51-35A5-6552-1BCA-809EA904C4EA}"/>
              </a:ext>
            </a:extLst>
          </p:cNvPr>
          <p:cNvSpPr/>
          <p:nvPr userDrawn="1"/>
        </p:nvSpPr>
        <p:spPr>
          <a:xfrm>
            <a:off x="2057190" y="5942400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19" h="502920">
                <a:moveTo>
                  <a:pt x="251421" y="0"/>
                </a:moveTo>
                <a:lnTo>
                  <a:pt x="206227" y="4050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3"/>
                </a:lnTo>
                <a:lnTo>
                  <a:pt x="59129" y="89437"/>
                </a:lnTo>
                <a:lnTo>
                  <a:pt x="34325" y="124527"/>
                </a:lnTo>
                <a:lnTo>
                  <a:pt x="15728" y="163695"/>
                </a:lnTo>
                <a:lnTo>
                  <a:pt x="4050" y="206230"/>
                </a:lnTo>
                <a:lnTo>
                  <a:pt x="0" y="251421"/>
                </a:lnTo>
                <a:lnTo>
                  <a:pt x="4050" y="296617"/>
                </a:lnTo>
                <a:lnTo>
                  <a:pt x="15728" y="339154"/>
                </a:lnTo>
                <a:lnTo>
                  <a:pt x="34325" y="378325"/>
                </a:lnTo>
                <a:lnTo>
                  <a:pt x="59129" y="413417"/>
                </a:lnTo>
                <a:lnTo>
                  <a:pt x="89431" y="443721"/>
                </a:lnTo>
                <a:lnTo>
                  <a:pt x="124522" y="468527"/>
                </a:lnTo>
                <a:lnTo>
                  <a:pt x="163690" y="487125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5"/>
                </a:lnTo>
                <a:lnTo>
                  <a:pt x="378325" y="468527"/>
                </a:lnTo>
                <a:lnTo>
                  <a:pt x="413417" y="443721"/>
                </a:lnTo>
                <a:lnTo>
                  <a:pt x="443721" y="413417"/>
                </a:lnTo>
                <a:lnTo>
                  <a:pt x="468527" y="378325"/>
                </a:lnTo>
                <a:lnTo>
                  <a:pt x="487125" y="339154"/>
                </a:lnTo>
                <a:lnTo>
                  <a:pt x="498805" y="296617"/>
                </a:lnTo>
                <a:lnTo>
                  <a:pt x="502856" y="251421"/>
                </a:lnTo>
                <a:lnTo>
                  <a:pt x="498805" y="206230"/>
                </a:lnTo>
                <a:lnTo>
                  <a:pt x="487125" y="163695"/>
                </a:lnTo>
                <a:lnTo>
                  <a:pt x="468527" y="124527"/>
                </a:lnTo>
                <a:lnTo>
                  <a:pt x="443721" y="89437"/>
                </a:lnTo>
                <a:lnTo>
                  <a:pt x="413417" y="59133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0"/>
                </a:lnTo>
                <a:lnTo>
                  <a:pt x="251421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9">
            <a:extLst>
              <a:ext uri="{FF2B5EF4-FFF2-40B4-BE49-F238E27FC236}">
                <a16:creationId xmlns:a16="http://schemas.microsoft.com/office/drawing/2014/main" id="{C5EB0FD8-7C29-F50A-8BC6-F6015FCF50C1}"/>
              </a:ext>
            </a:extLst>
          </p:cNvPr>
          <p:cNvSpPr/>
          <p:nvPr userDrawn="1"/>
        </p:nvSpPr>
        <p:spPr>
          <a:xfrm>
            <a:off x="8267563" y="4977217"/>
            <a:ext cx="2079857" cy="1878320"/>
          </a:xfrm>
          <a:custGeom>
            <a:avLst/>
            <a:gdLst/>
            <a:ahLst/>
            <a:cxnLst/>
            <a:rect l="l" t="t" r="r" b="b"/>
            <a:pathLst>
              <a:path w="2293620" h="2071370">
                <a:moveTo>
                  <a:pt x="1146619" y="0"/>
                </a:moveTo>
                <a:lnTo>
                  <a:pt x="1098150" y="1005"/>
                </a:lnTo>
                <a:lnTo>
                  <a:pt x="1050193" y="3997"/>
                </a:lnTo>
                <a:lnTo>
                  <a:pt x="1002790" y="8933"/>
                </a:lnTo>
                <a:lnTo>
                  <a:pt x="955978" y="15776"/>
                </a:lnTo>
                <a:lnTo>
                  <a:pt x="909799" y="24484"/>
                </a:lnTo>
                <a:lnTo>
                  <a:pt x="864291" y="35018"/>
                </a:lnTo>
                <a:lnTo>
                  <a:pt x="819496" y="47339"/>
                </a:lnTo>
                <a:lnTo>
                  <a:pt x="775452" y="61406"/>
                </a:lnTo>
                <a:lnTo>
                  <a:pt x="732199" y="77180"/>
                </a:lnTo>
                <a:lnTo>
                  <a:pt x="689778" y="94621"/>
                </a:lnTo>
                <a:lnTo>
                  <a:pt x="648227" y="113689"/>
                </a:lnTo>
                <a:lnTo>
                  <a:pt x="607588" y="134344"/>
                </a:lnTo>
                <a:lnTo>
                  <a:pt x="567898" y="156547"/>
                </a:lnTo>
                <a:lnTo>
                  <a:pt x="529199" y="180257"/>
                </a:lnTo>
                <a:lnTo>
                  <a:pt x="491531" y="205436"/>
                </a:lnTo>
                <a:lnTo>
                  <a:pt x="454932" y="232042"/>
                </a:lnTo>
                <a:lnTo>
                  <a:pt x="419443" y="260037"/>
                </a:lnTo>
                <a:lnTo>
                  <a:pt x="385103" y="289380"/>
                </a:lnTo>
                <a:lnTo>
                  <a:pt x="351953" y="320032"/>
                </a:lnTo>
                <a:lnTo>
                  <a:pt x="320032" y="351953"/>
                </a:lnTo>
                <a:lnTo>
                  <a:pt x="289380" y="385103"/>
                </a:lnTo>
                <a:lnTo>
                  <a:pt x="260037" y="419443"/>
                </a:lnTo>
                <a:lnTo>
                  <a:pt x="232042" y="454932"/>
                </a:lnTo>
                <a:lnTo>
                  <a:pt x="205436" y="491531"/>
                </a:lnTo>
                <a:lnTo>
                  <a:pt x="180257" y="529199"/>
                </a:lnTo>
                <a:lnTo>
                  <a:pt x="156547" y="567898"/>
                </a:lnTo>
                <a:lnTo>
                  <a:pt x="134344" y="607588"/>
                </a:lnTo>
                <a:lnTo>
                  <a:pt x="113689" y="648227"/>
                </a:lnTo>
                <a:lnTo>
                  <a:pt x="94621" y="689778"/>
                </a:lnTo>
                <a:lnTo>
                  <a:pt x="77180" y="732199"/>
                </a:lnTo>
                <a:lnTo>
                  <a:pt x="61406" y="775452"/>
                </a:lnTo>
                <a:lnTo>
                  <a:pt x="47339" y="819496"/>
                </a:lnTo>
                <a:lnTo>
                  <a:pt x="35018" y="864291"/>
                </a:lnTo>
                <a:lnTo>
                  <a:pt x="24484" y="909799"/>
                </a:lnTo>
                <a:lnTo>
                  <a:pt x="15776" y="955978"/>
                </a:lnTo>
                <a:lnTo>
                  <a:pt x="8933" y="1002790"/>
                </a:lnTo>
                <a:lnTo>
                  <a:pt x="3997" y="1050193"/>
                </a:lnTo>
                <a:lnTo>
                  <a:pt x="1005" y="1098150"/>
                </a:lnTo>
                <a:lnTo>
                  <a:pt x="0" y="1146619"/>
                </a:lnTo>
                <a:lnTo>
                  <a:pt x="1005" y="1195088"/>
                </a:lnTo>
                <a:lnTo>
                  <a:pt x="3997" y="1243045"/>
                </a:lnTo>
                <a:lnTo>
                  <a:pt x="8933" y="1290448"/>
                </a:lnTo>
                <a:lnTo>
                  <a:pt x="15776" y="1337260"/>
                </a:lnTo>
                <a:lnTo>
                  <a:pt x="24484" y="1383439"/>
                </a:lnTo>
                <a:lnTo>
                  <a:pt x="35018" y="1428947"/>
                </a:lnTo>
                <a:lnTo>
                  <a:pt x="47339" y="1473742"/>
                </a:lnTo>
                <a:lnTo>
                  <a:pt x="61406" y="1517786"/>
                </a:lnTo>
                <a:lnTo>
                  <a:pt x="77180" y="1561039"/>
                </a:lnTo>
                <a:lnTo>
                  <a:pt x="94621" y="1603460"/>
                </a:lnTo>
                <a:lnTo>
                  <a:pt x="113689" y="1645011"/>
                </a:lnTo>
                <a:lnTo>
                  <a:pt x="134344" y="1685650"/>
                </a:lnTo>
                <a:lnTo>
                  <a:pt x="156547" y="1725340"/>
                </a:lnTo>
                <a:lnTo>
                  <a:pt x="180257" y="1764039"/>
                </a:lnTo>
                <a:lnTo>
                  <a:pt x="205436" y="1801707"/>
                </a:lnTo>
                <a:lnTo>
                  <a:pt x="232042" y="1838306"/>
                </a:lnTo>
                <a:lnTo>
                  <a:pt x="260037" y="1873795"/>
                </a:lnTo>
                <a:lnTo>
                  <a:pt x="289380" y="1908135"/>
                </a:lnTo>
                <a:lnTo>
                  <a:pt x="320032" y="1941285"/>
                </a:lnTo>
                <a:lnTo>
                  <a:pt x="351953" y="1973206"/>
                </a:lnTo>
                <a:lnTo>
                  <a:pt x="385103" y="2003858"/>
                </a:lnTo>
                <a:lnTo>
                  <a:pt x="419443" y="2033201"/>
                </a:lnTo>
                <a:lnTo>
                  <a:pt x="454932" y="2061196"/>
                </a:lnTo>
                <a:lnTo>
                  <a:pt x="468748" y="2071240"/>
                </a:lnTo>
                <a:lnTo>
                  <a:pt x="1824490" y="2071240"/>
                </a:lnTo>
                <a:lnTo>
                  <a:pt x="1873795" y="2033201"/>
                </a:lnTo>
                <a:lnTo>
                  <a:pt x="1908135" y="2003858"/>
                </a:lnTo>
                <a:lnTo>
                  <a:pt x="1941285" y="1973206"/>
                </a:lnTo>
                <a:lnTo>
                  <a:pt x="1973206" y="1941285"/>
                </a:lnTo>
                <a:lnTo>
                  <a:pt x="2003858" y="1908135"/>
                </a:lnTo>
                <a:lnTo>
                  <a:pt x="2033201" y="1873795"/>
                </a:lnTo>
                <a:lnTo>
                  <a:pt x="2061196" y="1838306"/>
                </a:lnTo>
                <a:lnTo>
                  <a:pt x="2087802" y="1801707"/>
                </a:lnTo>
                <a:lnTo>
                  <a:pt x="2112981" y="1764039"/>
                </a:lnTo>
                <a:lnTo>
                  <a:pt x="2136691" y="1725340"/>
                </a:lnTo>
                <a:lnTo>
                  <a:pt x="2158894" y="1685650"/>
                </a:lnTo>
                <a:lnTo>
                  <a:pt x="2179549" y="1645011"/>
                </a:lnTo>
                <a:lnTo>
                  <a:pt x="2198617" y="1603460"/>
                </a:lnTo>
                <a:lnTo>
                  <a:pt x="2216058" y="1561039"/>
                </a:lnTo>
                <a:lnTo>
                  <a:pt x="2231832" y="1517786"/>
                </a:lnTo>
                <a:lnTo>
                  <a:pt x="2245899" y="1473742"/>
                </a:lnTo>
                <a:lnTo>
                  <a:pt x="2258220" y="1428947"/>
                </a:lnTo>
                <a:lnTo>
                  <a:pt x="2268754" y="1383439"/>
                </a:lnTo>
                <a:lnTo>
                  <a:pt x="2277462" y="1337260"/>
                </a:lnTo>
                <a:lnTo>
                  <a:pt x="2284305" y="1290448"/>
                </a:lnTo>
                <a:lnTo>
                  <a:pt x="2289241" y="1243045"/>
                </a:lnTo>
                <a:lnTo>
                  <a:pt x="2292233" y="1195088"/>
                </a:lnTo>
                <a:lnTo>
                  <a:pt x="2293238" y="1146619"/>
                </a:lnTo>
                <a:lnTo>
                  <a:pt x="2292233" y="1098150"/>
                </a:lnTo>
                <a:lnTo>
                  <a:pt x="2289241" y="1050193"/>
                </a:lnTo>
                <a:lnTo>
                  <a:pt x="2284305" y="1002790"/>
                </a:lnTo>
                <a:lnTo>
                  <a:pt x="2277462" y="955978"/>
                </a:lnTo>
                <a:lnTo>
                  <a:pt x="2268754" y="909799"/>
                </a:lnTo>
                <a:lnTo>
                  <a:pt x="2258220" y="864291"/>
                </a:lnTo>
                <a:lnTo>
                  <a:pt x="2245899" y="819496"/>
                </a:lnTo>
                <a:lnTo>
                  <a:pt x="2231832" y="775452"/>
                </a:lnTo>
                <a:lnTo>
                  <a:pt x="2216058" y="732199"/>
                </a:lnTo>
                <a:lnTo>
                  <a:pt x="2198617" y="689778"/>
                </a:lnTo>
                <a:lnTo>
                  <a:pt x="2179549" y="648227"/>
                </a:lnTo>
                <a:lnTo>
                  <a:pt x="2158894" y="607588"/>
                </a:lnTo>
                <a:lnTo>
                  <a:pt x="2136691" y="567898"/>
                </a:lnTo>
                <a:lnTo>
                  <a:pt x="2112981" y="529199"/>
                </a:lnTo>
                <a:lnTo>
                  <a:pt x="2087802" y="491531"/>
                </a:lnTo>
                <a:lnTo>
                  <a:pt x="2061196" y="454932"/>
                </a:lnTo>
                <a:lnTo>
                  <a:pt x="2033201" y="419443"/>
                </a:lnTo>
                <a:lnTo>
                  <a:pt x="2003858" y="385103"/>
                </a:lnTo>
                <a:lnTo>
                  <a:pt x="1973206" y="351953"/>
                </a:lnTo>
                <a:lnTo>
                  <a:pt x="1941285" y="320032"/>
                </a:lnTo>
                <a:lnTo>
                  <a:pt x="1908135" y="289380"/>
                </a:lnTo>
                <a:lnTo>
                  <a:pt x="1873795" y="260037"/>
                </a:lnTo>
                <a:lnTo>
                  <a:pt x="1838306" y="232042"/>
                </a:lnTo>
                <a:lnTo>
                  <a:pt x="1801707" y="205436"/>
                </a:lnTo>
                <a:lnTo>
                  <a:pt x="1764039" y="180257"/>
                </a:lnTo>
                <a:lnTo>
                  <a:pt x="1725340" y="156547"/>
                </a:lnTo>
                <a:lnTo>
                  <a:pt x="1685650" y="134344"/>
                </a:lnTo>
                <a:lnTo>
                  <a:pt x="1645011" y="113689"/>
                </a:lnTo>
                <a:lnTo>
                  <a:pt x="1603460" y="94621"/>
                </a:lnTo>
                <a:lnTo>
                  <a:pt x="1561039" y="77180"/>
                </a:lnTo>
                <a:lnTo>
                  <a:pt x="1517786" y="61406"/>
                </a:lnTo>
                <a:lnTo>
                  <a:pt x="1473742" y="47339"/>
                </a:lnTo>
                <a:lnTo>
                  <a:pt x="1428947" y="35018"/>
                </a:lnTo>
                <a:lnTo>
                  <a:pt x="1383439" y="24484"/>
                </a:lnTo>
                <a:lnTo>
                  <a:pt x="1337260" y="15776"/>
                </a:lnTo>
                <a:lnTo>
                  <a:pt x="1290448" y="8933"/>
                </a:lnTo>
                <a:lnTo>
                  <a:pt x="1243045" y="3997"/>
                </a:lnTo>
                <a:lnTo>
                  <a:pt x="1195088" y="1005"/>
                </a:lnTo>
                <a:lnTo>
                  <a:pt x="1146619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A89A634F-3FAC-49AD-A2DA-F89F069C69B6}"/>
              </a:ext>
            </a:extLst>
          </p:cNvPr>
          <p:cNvSpPr/>
          <p:nvPr userDrawn="1"/>
        </p:nvSpPr>
        <p:spPr>
          <a:xfrm>
            <a:off x="10400414" y="1"/>
            <a:ext cx="1786189" cy="1731487"/>
          </a:xfrm>
          <a:custGeom>
            <a:avLst/>
            <a:gdLst/>
            <a:ahLst/>
            <a:cxnLst/>
            <a:rect l="l" t="t" r="r" b="b"/>
            <a:pathLst>
              <a:path w="1969769" h="1909445">
                <a:moveTo>
                  <a:pt x="1969200" y="0"/>
                </a:moveTo>
                <a:lnTo>
                  <a:pt x="290407" y="0"/>
                </a:lnTo>
                <a:lnTo>
                  <a:pt x="289380" y="1110"/>
                </a:lnTo>
                <a:lnTo>
                  <a:pt x="260037" y="35449"/>
                </a:lnTo>
                <a:lnTo>
                  <a:pt x="232042" y="70938"/>
                </a:lnTo>
                <a:lnTo>
                  <a:pt x="205436" y="107537"/>
                </a:lnTo>
                <a:lnTo>
                  <a:pt x="180257" y="145206"/>
                </a:lnTo>
                <a:lnTo>
                  <a:pt x="156547" y="183905"/>
                </a:lnTo>
                <a:lnTo>
                  <a:pt x="134344" y="223594"/>
                </a:lnTo>
                <a:lnTo>
                  <a:pt x="113689" y="264234"/>
                </a:lnTo>
                <a:lnTo>
                  <a:pt x="94621" y="305784"/>
                </a:lnTo>
                <a:lnTo>
                  <a:pt x="77180" y="348206"/>
                </a:lnTo>
                <a:lnTo>
                  <a:pt x="61406" y="391458"/>
                </a:lnTo>
                <a:lnTo>
                  <a:pt x="47339" y="435502"/>
                </a:lnTo>
                <a:lnTo>
                  <a:pt x="35018" y="480298"/>
                </a:lnTo>
                <a:lnTo>
                  <a:pt x="24484" y="525805"/>
                </a:lnTo>
                <a:lnTo>
                  <a:pt x="15776" y="571984"/>
                </a:lnTo>
                <a:lnTo>
                  <a:pt x="8933" y="618796"/>
                </a:lnTo>
                <a:lnTo>
                  <a:pt x="3997" y="666200"/>
                </a:lnTo>
                <a:lnTo>
                  <a:pt x="1005" y="714156"/>
                </a:lnTo>
                <a:lnTo>
                  <a:pt x="0" y="762625"/>
                </a:lnTo>
                <a:lnTo>
                  <a:pt x="1005" y="811095"/>
                </a:lnTo>
                <a:lnTo>
                  <a:pt x="3997" y="859051"/>
                </a:lnTo>
                <a:lnTo>
                  <a:pt x="8933" y="906455"/>
                </a:lnTo>
                <a:lnTo>
                  <a:pt x="15776" y="953266"/>
                </a:lnTo>
                <a:lnTo>
                  <a:pt x="24484" y="999446"/>
                </a:lnTo>
                <a:lnTo>
                  <a:pt x="35018" y="1044953"/>
                </a:lnTo>
                <a:lnTo>
                  <a:pt x="47339" y="1089748"/>
                </a:lnTo>
                <a:lnTo>
                  <a:pt x="61406" y="1133792"/>
                </a:lnTo>
                <a:lnTo>
                  <a:pt x="77180" y="1177045"/>
                </a:lnTo>
                <a:lnTo>
                  <a:pt x="94621" y="1219467"/>
                </a:lnTo>
                <a:lnTo>
                  <a:pt x="113689" y="1261017"/>
                </a:lnTo>
                <a:lnTo>
                  <a:pt x="134344" y="1301657"/>
                </a:lnTo>
                <a:lnTo>
                  <a:pt x="156547" y="1341346"/>
                </a:lnTo>
                <a:lnTo>
                  <a:pt x="180257" y="1380045"/>
                </a:lnTo>
                <a:lnTo>
                  <a:pt x="205436" y="1417714"/>
                </a:lnTo>
                <a:lnTo>
                  <a:pt x="232042" y="1454312"/>
                </a:lnTo>
                <a:lnTo>
                  <a:pt x="260037" y="1489801"/>
                </a:lnTo>
                <a:lnTo>
                  <a:pt x="289380" y="1524141"/>
                </a:lnTo>
                <a:lnTo>
                  <a:pt x="320032" y="1557291"/>
                </a:lnTo>
                <a:lnTo>
                  <a:pt x="351953" y="1589212"/>
                </a:lnTo>
                <a:lnTo>
                  <a:pt x="385103" y="1619864"/>
                </a:lnTo>
                <a:lnTo>
                  <a:pt x="419443" y="1649207"/>
                </a:lnTo>
                <a:lnTo>
                  <a:pt x="454932" y="1677202"/>
                </a:lnTo>
                <a:lnTo>
                  <a:pt x="491531" y="1703809"/>
                </a:lnTo>
                <a:lnTo>
                  <a:pt x="529199" y="1728987"/>
                </a:lnTo>
                <a:lnTo>
                  <a:pt x="567898" y="1752698"/>
                </a:lnTo>
                <a:lnTo>
                  <a:pt x="607588" y="1774900"/>
                </a:lnTo>
                <a:lnTo>
                  <a:pt x="648227" y="1795556"/>
                </a:lnTo>
                <a:lnTo>
                  <a:pt x="689778" y="1814623"/>
                </a:lnTo>
                <a:lnTo>
                  <a:pt x="732199" y="1832064"/>
                </a:lnTo>
                <a:lnTo>
                  <a:pt x="775452" y="1847838"/>
                </a:lnTo>
                <a:lnTo>
                  <a:pt x="819496" y="1861905"/>
                </a:lnTo>
                <a:lnTo>
                  <a:pt x="864291" y="1874226"/>
                </a:lnTo>
                <a:lnTo>
                  <a:pt x="909799" y="1884760"/>
                </a:lnTo>
                <a:lnTo>
                  <a:pt x="955978" y="1893469"/>
                </a:lnTo>
                <a:lnTo>
                  <a:pt x="1002790" y="1900311"/>
                </a:lnTo>
                <a:lnTo>
                  <a:pt x="1050193" y="1905248"/>
                </a:lnTo>
                <a:lnTo>
                  <a:pt x="1098150" y="1908239"/>
                </a:lnTo>
                <a:lnTo>
                  <a:pt x="1146619" y="1909245"/>
                </a:lnTo>
                <a:lnTo>
                  <a:pt x="1195088" y="1908239"/>
                </a:lnTo>
                <a:lnTo>
                  <a:pt x="1243045" y="1905248"/>
                </a:lnTo>
                <a:lnTo>
                  <a:pt x="1290448" y="1900311"/>
                </a:lnTo>
                <a:lnTo>
                  <a:pt x="1337260" y="1893469"/>
                </a:lnTo>
                <a:lnTo>
                  <a:pt x="1383439" y="1884760"/>
                </a:lnTo>
                <a:lnTo>
                  <a:pt x="1428947" y="1874226"/>
                </a:lnTo>
                <a:lnTo>
                  <a:pt x="1473742" y="1861905"/>
                </a:lnTo>
                <a:lnTo>
                  <a:pt x="1517786" y="1847838"/>
                </a:lnTo>
                <a:lnTo>
                  <a:pt x="1561039" y="1832064"/>
                </a:lnTo>
                <a:lnTo>
                  <a:pt x="1603460" y="1814623"/>
                </a:lnTo>
                <a:lnTo>
                  <a:pt x="1645011" y="1795556"/>
                </a:lnTo>
                <a:lnTo>
                  <a:pt x="1685650" y="1774900"/>
                </a:lnTo>
                <a:lnTo>
                  <a:pt x="1725340" y="1752698"/>
                </a:lnTo>
                <a:lnTo>
                  <a:pt x="1764039" y="1728987"/>
                </a:lnTo>
                <a:lnTo>
                  <a:pt x="1801707" y="1703809"/>
                </a:lnTo>
                <a:lnTo>
                  <a:pt x="1838306" y="1677202"/>
                </a:lnTo>
                <a:lnTo>
                  <a:pt x="1873795" y="1649207"/>
                </a:lnTo>
                <a:lnTo>
                  <a:pt x="1908135" y="1619864"/>
                </a:lnTo>
                <a:lnTo>
                  <a:pt x="1941285" y="1589212"/>
                </a:lnTo>
                <a:lnTo>
                  <a:pt x="1969200" y="1561297"/>
                </a:lnTo>
                <a:lnTo>
                  <a:pt x="1969200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id="{070B18B0-0A28-9977-5483-AE34A87FCE5C}"/>
              </a:ext>
            </a:extLst>
          </p:cNvPr>
          <p:cNvSpPr/>
          <p:nvPr userDrawn="1"/>
        </p:nvSpPr>
        <p:spPr>
          <a:xfrm>
            <a:off x="4070293" y="0"/>
            <a:ext cx="2079857" cy="1720546"/>
          </a:xfrm>
          <a:custGeom>
            <a:avLst/>
            <a:gdLst/>
            <a:ahLst/>
            <a:cxnLst/>
            <a:rect l="l" t="t" r="r" b="b"/>
            <a:pathLst>
              <a:path w="2293620" h="1897380">
                <a:moveTo>
                  <a:pt x="2013162" y="0"/>
                </a:moveTo>
                <a:lnTo>
                  <a:pt x="280076" y="0"/>
                </a:lnTo>
                <a:lnTo>
                  <a:pt x="260037" y="23451"/>
                </a:lnTo>
                <a:lnTo>
                  <a:pt x="232042" y="58940"/>
                </a:lnTo>
                <a:lnTo>
                  <a:pt x="205436" y="95539"/>
                </a:lnTo>
                <a:lnTo>
                  <a:pt x="180257" y="133207"/>
                </a:lnTo>
                <a:lnTo>
                  <a:pt x="156547" y="171906"/>
                </a:lnTo>
                <a:lnTo>
                  <a:pt x="134344" y="211595"/>
                </a:lnTo>
                <a:lnTo>
                  <a:pt x="113689" y="252235"/>
                </a:lnTo>
                <a:lnTo>
                  <a:pt x="94621" y="293786"/>
                </a:lnTo>
                <a:lnTo>
                  <a:pt x="77180" y="336207"/>
                </a:lnTo>
                <a:lnTo>
                  <a:pt x="61406" y="379460"/>
                </a:lnTo>
                <a:lnTo>
                  <a:pt x="47339" y="423504"/>
                </a:lnTo>
                <a:lnTo>
                  <a:pt x="35018" y="468299"/>
                </a:lnTo>
                <a:lnTo>
                  <a:pt x="24484" y="513807"/>
                </a:lnTo>
                <a:lnTo>
                  <a:pt x="15776" y="559986"/>
                </a:lnTo>
                <a:lnTo>
                  <a:pt x="8933" y="606797"/>
                </a:lnTo>
                <a:lnTo>
                  <a:pt x="3997" y="654201"/>
                </a:lnTo>
                <a:lnTo>
                  <a:pt x="1005" y="702158"/>
                </a:lnTo>
                <a:lnTo>
                  <a:pt x="0" y="750627"/>
                </a:lnTo>
                <a:lnTo>
                  <a:pt x="1005" y="799096"/>
                </a:lnTo>
                <a:lnTo>
                  <a:pt x="3997" y="847052"/>
                </a:lnTo>
                <a:lnTo>
                  <a:pt x="8933" y="894456"/>
                </a:lnTo>
                <a:lnTo>
                  <a:pt x="15776" y="941268"/>
                </a:lnTo>
                <a:lnTo>
                  <a:pt x="24484" y="987447"/>
                </a:lnTo>
                <a:lnTo>
                  <a:pt x="35018" y="1032954"/>
                </a:lnTo>
                <a:lnTo>
                  <a:pt x="47339" y="1077750"/>
                </a:lnTo>
                <a:lnTo>
                  <a:pt x="61406" y="1121794"/>
                </a:lnTo>
                <a:lnTo>
                  <a:pt x="77180" y="1165047"/>
                </a:lnTo>
                <a:lnTo>
                  <a:pt x="94621" y="1207468"/>
                </a:lnTo>
                <a:lnTo>
                  <a:pt x="113689" y="1249019"/>
                </a:lnTo>
                <a:lnTo>
                  <a:pt x="134344" y="1289658"/>
                </a:lnTo>
                <a:lnTo>
                  <a:pt x="156547" y="1329348"/>
                </a:lnTo>
                <a:lnTo>
                  <a:pt x="180257" y="1368046"/>
                </a:lnTo>
                <a:lnTo>
                  <a:pt x="205436" y="1405715"/>
                </a:lnTo>
                <a:lnTo>
                  <a:pt x="232042" y="1442314"/>
                </a:lnTo>
                <a:lnTo>
                  <a:pt x="260037" y="1477803"/>
                </a:lnTo>
                <a:lnTo>
                  <a:pt x="289380" y="1512142"/>
                </a:lnTo>
                <a:lnTo>
                  <a:pt x="320032" y="1545293"/>
                </a:lnTo>
                <a:lnTo>
                  <a:pt x="351953" y="1577214"/>
                </a:lnTo>
                <a:lnTo>
                  <a:pt x="385103" y="1607866"/>
                </a:lnTo>
                <a:lnTo>
                  <a:pt x="419443" y="1637209"/>
                </a:lnTo>
                <a:lnTo>
                  <a:pt x="454932" y="1665204"/>
                </a:lnTo>
                <a:lnTo>
                  <a:pt x="491531" y="1691810"/>
                </a:lnTo>
                <a:lnTo>
                  <a:pt x="529199" y="1716989"/>
                </a:lnTo>
                <a:lnTo>
                  <a:pt x="567898" y="1740699"/>
                </a:lnTo>
                <a:lnTo>
                  <a:pt x="607588" y="1762902"/>
                </a:lnTo>
                <a:lnTo>
                  <a:pt x="648227" y="1783557"/>
                </a:lnTo>
                <a:lnTo>
                  <a:pt x="689778" y="1802625"/>
                </a:lnTo>
                <a:lnTo>
                  <a:pt x="732199" y="1820066"/>
                </a:lnTo>
                <a:lnTo>
                  <a:pt x="775452" y="1835840"/>
                </a:lnTo>
                <a:lnTo>
                  <a:pt x="819496" y="1849907"/>
                </a:lnTo>
                <a:lnTo>
                  <a:pt x="864291" y="1862228"/>
                </a:lnTo>
                <a:lnTo>
                  <a:pt x="909799" y="1872762"/>
                </a:lnTo>
                <a:lnTo>
                  <a:pt x="955978" y="1881470"/>
                </a:lnTo>
                <a:lnTo>
                  <a:pt x="1002790" y="1888313"/>
                </a:lnTo>
                <a:lnTo>
                  <a:pt x="1050193" y="1893249"/>
                </a:lnTo>
                <a:lnTo>
                  <a:pt x="1098150" y="1896240"/>
                </a:lnTo>
                <a:lnTo>
                  <a:pt x="1146619" y="1897246"/>
                </a:lnTo>
                <a:lnTo>
                  <a:pt x="1195088" y="1896240"/>
                </a:lnTo>
                <a:lnTo>
                  <a:pt x="1243045" y="1893249"/>
                </a:lnTo>
                <a:lnTo>
                  <a:pt x="1290448" y="1888313"/>
                </a:lnTo>
                <a:lnTo>
                  <a:pt x="1337260" y="1881470"/>
                </a:lnTo>
                <a:lnTo>
                  <a:pt x="1383439" y="1872762"/>
                </a:lnTo>
                <a:lnTo>
                  <a:pt x="1428947" y="1862228"/>
                </a:lnTo>
                <a:lnTo>
                  <a:pt x="1473742" y="1849907"/>
                </a:lnTo>
                <a:lnTo>
                  <a:pt x="1517786" y="1835840"/>
                </a:lnTo>
                <a:lnTo>
                  <a:pt x="1561039" y="1820066"/>
                </a:lnTo>
                <a:lnTo>
                  <a:pt x="1603460" y="1802625"/>
                </a:lnTo>
                <a:lnTo>
                  <a:pt x="1645011" y="1783557"/>
                </a:lnTo>
                <a:lnTo>
                  <a:pt x="1685650" y="1762902"/>
                </a:lnTo>
                <a:lnTo>
                  <a:pt x="1725340" y="1740699"/>
                </a:lnTo>
                <a:lnTo>
                  <a:pt x="1764039" y="1716989"/>
                </a:lnTo>
                <a:lnTo>
                  <a:pt x="1801707" y="1691810"/>
                </a:lnTo>
                <a:lnTo>
                  <a:pt x="1838306" y="1665204"/>
                </a:lnTo>
                <a:lnTo>
                  <a:pt x="1873795" y="1637209"/>
                </a:lnTo>
                <a:lnTo>
                  <a:pt x="1908135" y="1607866"/>
                </a:lnTo>
                <a:lnTo>
                  <a:pt x="1941285" y="1577214"/>
                </a:lnTo>
                <a:lnTo>
                  <a:pt x="1973206" y="1545293"/>
                </a:lnTo>
                <a:lnTo>
                  <a:pt x="2003858" y="1512142"/>
                </a:lnTo>
                <a:lnTo>
                  <a:pt x="2033201" y="1477803"/>
                </a:lnTo>
                <a:lnTo>
                  <a:pt x="2061196" y="1442314"/>
                </a:lnTo>
                <a:lnTo>
                  <a:pt x="2087802" y="1405715"/>
                </a:lnTo>
                <a:lnTo>
                  <a:pt x="2112981" y="1368046"/>
                </a:lnTo>
                <a:lnTo>
                  <a:pt x="2136691" y="1329348"/>
                </a:lnTo>
                <a:lnTo>
                  <a:pt x="2158894" y="1289658"/>
                </a:lnTo>
                <a:lnTo>
                  <a:pt x="2179549" y="1249019"/>
                </a:lnTo>
                <a:lnTo>
                  <a:pt x="2198617" y="1207468"/>
                </a:lnTo>
                <a:lnTo>
                  <a:pt x="2216058" y="1165047"/>
                </a:lnTo>
                <a:lnTo>
                  <a:pt x="2231832" y="1121794"/>
                </a:lnTo>
                <a:lnTo>
                  <a:pt x="2245899" y="1077750"/>
                </a:lnTo>
                <a:lnTo>
                  <a:pt x="2258220" y="1032954"/>
                </a:lnTo>
                <a:lnTo>
                  <a:pt x="2268754" y="987447"/>
                </a:lnTo>
                <a:lnTo>
                  <a:pt x="2277462" y="941268"/>
                </a:lnTo>
                <a:lnTo>
                  <a:pt x="2284305" y="894456"/>
                </a:lnTo>
                <a:lnTo>
                  <a:pt x="2289241" y="847052"/>
                </a:lnTo>
                <a:lnTo>
                  <a:pt x="2292233" y="799096"/>
                </a:lnTo>
                <a:lnTo>
                  <a:pt x="2293239" y="750627"/>
                </a:lnTo>
                <a:lnTo>
                  <a:pt x="2292233" y="702158"/>
                </a:lnTo>
                <a:lnTo>
                  <a:pt x="2289241" y="654201"/>
                </a:lnTo>
                <a:lnTo>
                  <a:pt x="2284305" y="606797"/>
                </a:lnTo>
                <a:lnTo>
                  <a:pt x="2277462" y="559986"/>
                </a:lnTo>
                <a:lnTo>
                  <a:pt x="2268754" y="513807"/>
                </a:lnTo>
                <a:lnTo>
                  <a:pt x="2258220" y="468299"/>
                </a:lnTo>
                <a:lnTo>
                  <a:pt x="2245899" y="423504"/>
                </a:lnTo>
                <a:lnTo>
                  <a:pt x="2231832" y="379460"/>
                </a:lnTo>
                <a:lnTo>
                  <a:pt x="2216058" y="336207"/>
                </a:lnTo>
                <a:lnTo>
                  <a:pt x="2198617" y="293786"/>
                </a:lnTo>
                <a:lnTo>
                  <a:pt x="2179549" y="252235"/>
                </a:lnTo>
                <a:lnTo>
                  <a:pt x="2158894" y="211595"/>
                </a:lnTo>
                <a:lnTo>
                  <a:pt x="2136691" y="171906"/>
                </a:lnTo>
                <a:lnTo>
                  <a:pt x="2112981" y="133207"/>
                </a:lnTo>
                <a:lnTo>
                  <a:pt x="2087802" y="95539"/>
                </a:lnTo>
                <a:lnTo>
                  <a:pt x="2061196" y="58940"/>
                </a:lnTo>
                <a:lnTo>
                  <a:pt x="2033201" y="23451"/>
                </a:lnTo>
                <a:lnTo>
                  <a:pt x="201316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FEF9B5F4-F996-526E-724D-8B9EB62F9A2B}"/>
              </a:ext>
            </a:extLst>
          </p:cNvPr>
          <p:cNvSpPr/>
          <p:nvPr userDrawn="1"/>
        </p:nvSpPr>
        <p:spPr>
          <a:xfrm>
            <a:off x="10321566" y="3966353"/>
            <a:ext cx="1580045" cy="1580045"/>
          </a:xfrm>
          <a:custGeom>
            <a:avLst/>
            <a:gdLst/>
            <a:ahLst/>
            <a:cxnLst/>
            <a:rect l="l" t="t" r="r" b="b"/>
            <a:pathLst>
              <a:path w="1742440" h="1742439">
                <a:moveTo>
                  <a:pt x="871016" y="0"/>
                </a:moveTo>
                <a:lnTo>
                  <a:pt x="823226" y="1288"/>
                </a:lnTo>
                <a:lnTo>
                  <a:pt x="776109" y="5110"/>
                </a:lnTo>
                <a:lnTo>
                  <a:pt x="729733" y="11400"/>
                </a:lnTo>
                <a:lnTo>
                  <a:pt x="684162" y="20089"/>
                </a:lnTo>
                <a:lnTo>
                  <a:pt x="639465" y="31113"/>
                </a:lnTo>
                <a:lnTo>
                  <a:pt x="595707" y="44404"/>
                </a:lnTo>
                <a:lnTo>
                  <a:pt x="552955" y="59897"/>
                </a:lnTo>
                <a:lnTo>
                  <a:pt x="511275" y="77525"/>
                </a:lnTo>
                <a:lnTo>
                  <a:pt x="470733" y="97221"/>
                </a:lnTo>
                <a:lnTo>
                  <a:pt x="431397" y="118919"/>
                </a:lnTo>
                <a:lnTo>
                  <a:pt x="393332" y="142552"/>
                </a:lnTo>
                <a:lnTo>
                  <a:pt x="356605" y="168055"/>
                </a:lnTo>
                <a:lnTo>
                  <a:pt x="321282" y="195360"/>
                </a:lnTo>
                <a:lnTo>
                  <a:pt x="287429" y="224402"/>
                </a:lnTo>
                <a:lnTo>
                  <a:pt x="255114" y="255114"/>
                </a:lnTo>
                <a:lnTo>
                  <a:pt x="224402" y="287429"/>
                </a:lnTo>
                <a:lnTo>
                  <a:pt x="195360" y="321282"/>
                </a:lnTo>
                <a:lnTo>
                  <a:pt x="168055" y="356605"/>
                </a:lnTo>
                <a:lnTo>
                  <a:pt x="142552" y="393332"/>
                </a:lnTo>
                <a:lnTo>
                  <a:pt x="118919" y="431397"/>
                </a:lnTo>
                <a:lnTo>
                  <a:pt x="97221" y="470733"/>
                </a:lnTo>
                <a:lnTo>
                  <a:pt x="77525" y="511275"/>
                </a:lnTo>
                <a:lnTo>
                  <a:pt x="59897" y="552955"/>
                </a:lnTo>
                <a:lnTo>
                  <a:pt x="44404" y="595707"/>
                </a:lnTo>
                <a:lnTo>
                  <a:pt x="31113" y="639465"/>
                </a:lnTo>
                <a:lnTo>
                  <a:pt x="20089" y="684162"/>
                </a:lnTo>
                <a:lnTo>
                  <a:pt x="11400" y="729733"/>
                </a:lnTo>
                <a:lnTo>
                  <a:pt x="5110" y="776109"/>
                </a:lnTo>
                <a:lnTo>
                  <a:pt x="1288" y="823226"/>
                </a:lnTo>
                <a:lnTo>
                  <a:pt x="0" y="871016"/>
                </a:lnTo>
                <a:lnTo>
                  <a:pt x="1288" y="918807"/>
                </a:lnTo>
                <a:lnTo>
                  <a:pt x="5110" y="965923"/>
                </a:lnTo>
                <a:lnTo>
                  <a:pt x="11400" y="1012300"/>
                </a:lnTo>
                <a:lnTo>
                  <a:pt x="20089" y="1057870"/>
                </a:lnTo>
                <a:lnTo>
                  <a:pt x="31113" y="1102568"/>
                </a:lnTo>
                <a:lnTo>
                  <a:pt x="44404" y="1146325"/>
                </a:lnTo>
                <a:lnTo>
                  <a:pt x="59897" y="1189078"/>
                </a:lnTo>
                <a:lnTo>
                  <a:pt x="77525" y="1230758"/>
                </a:lnTo>
                <a:lnTo>
                  <a:pt x="97221" y="1271299"/>
                </a:lnTo>
                <a:lnTo>
                  <a:pt x="118919" y="1310636"/>
                </a:lnTo>
                <a:lnTo>
                  <a:pt x="142552" y="1348701"/>
                </a:lnTo>
                <a:lnTo>
                  <a:pt x="168055" y="1385428"/>
                </a:lnTo>
                <a:lnTo>
                  <a:pt x="195360" y="1420751"/>
                </a:lnTo>
                <a:lnTo>
                  <a:pt x="224402" y="1454603"/>
                </a:lnTo>
                <a:lnTo>
                  <a:pt x="255114" y="1486919"/>
                </a:lnTo>
                <a:lnTo>
                  <a:pt x="287429" y="1517630"/>
                </a:lnTo>
                <a:lnTo>
                  <a:pt x="321282" y="1546672"/>
                </a:lnTo>
                <a:lnTo>
                  <a:pt x="356605" y="1573978"/>
                </a:lnTo>
                <a:lnTo>
                  <a:pt x="393332" y="1599480"/>
                </a:lnTo>
                <a:lnTo>
                  <a:pt x="431397" y="1623114"/>
                </a:lnTo>
                <a:lnTo>
                  <a:pt x="470733" y="1644812"/>
                </a:lnTo>
                <a:lnTo>
                  <a:pt x="511275" y="1664508"/>
                </a:lnTo>
                <a:lnTo>
                  <a:pt x="552955" y="1682136"/>
                </a:lnTo>
                <a:lnTo>
                  <a:pt x="595707" y="1697628"/>
                </a:lnTo>
                <a:lnTo>
                  <a:pt x="639465" y="1710920"/>
                </a:lnTo>
                <a:lnTo>
                  <a:pt x="684162" y="1721943"/>
                </a:lnTo>
                <a:lnTo>
                  <a:pt x="729733" y="1730633"/>
                </a:lnTo>
                <a:lnTo>
                  <a:pt x="776109" y="1736922"/>
                </a:lnTo>
                <a:lnTo>
                  <a:pt x="823226" y="1740744"/>
                </a:lnTo>
                <a:lnTo>
                  <a:pt x="871016" y="1742033"/>
                </a:lnTo>
                <a:lnTo>
                  <a:pt x="918807" y="1740744"/>
                </a:lnTo>
                <a:lnTo>
                  <a:pt x="965923" y="1736922"/>
                </a:lnTo>
                <a:lnTo>
                  <a:pt x="1012300" y="1730633"/>
                </a:lnTo>
                <a:lnTo>
                  <a:pt x="1057870" y="1721943"/>
                </a:lnTo>
                <a:lnTo>
                  <a:pt x="1102568" y="1710920"/>
                </a:lnTo>
                <a:lnTo>
                  <a:pt x="1146325" y="1697628"/>
                </a:lnTo>
                <a:lnTo>
                  <a:pt x="1189078" y="1682136"/>
                </a:lnTo>
                <a:lnTo>
                  <a:pt x="1230758" y="1664508"/>
                </a:lnTo>
                <a:lnTo>
                  <a:pt x="1271299" y="1644812"/>
                </a:lnTo>
                <a:lnTo>
                  <a:pt x="1310636" y="1623114"/>
                </a:lnTo>
                <a:lnTo>
                  <a:pt x="1348701" y="1599480"/>
                </a:lnTo>
                <a:lnTo>
                  <a:pt x="1385428" y="1573978"/>
                </a:lnTo>
                <a:lnTo>
                  <a:pt x="1420751" y="1546672"/>
                </a:lnTo>
                <a:lnTo>
                  <a:pt x="1454603" y="1517630"/>
                </a:lnTo>
                <a:lnTo>
                  <a:pt x="1486919" y="1486919"/>
                </a:lnTo>
                <a:lnTo>
                  <a:pt x="1517630" y="1454603"/>
                </a:lnTo>
                <a:lnTo>
                  <a:pt x="1546672" y="1420751"/>
                </a:lnTo>
                <a:lnTo>
                  <a:pt x="1573978" y="1385428"/>
                </a:lnTo>
                <a:lnTo>
                  <a:pt x="1599480" y="1348701"/>
                </a:lnTo>
                <a:lnTo>
                  <a:pt x="1623114" y="1310636"/>
                </a:lnTo>
                <a:lnTo>
                  <a:pt x="1644812" y="1271299"/>
                </a:lnTo>
                <a:lnTo>
                  <a:pt x="1664508" y="1230758"/>
                </a:lnTo>
                <a:lnTo>
                  <a:pt x="1682136" y="1189078"/>
                </a:lnTo>
                <a:lnTo>
                  <a:pt x="1697628" y="1146325"/>
                </a:lnTo>
                <a:lnTo>
                  <a:pt x="1710920" y="1102568"/>
                </a:lnTo>
                <a:lnTo>
                  <a:pt x="1721943" y="1057870"/>
                </a:lnTo>
                <a:lnTo>
                  <a:pt x="1730633" y="1012300"/>
                </a:lnTo>
                <a:lnTo>
                  <a:pt x="1736922" y="965923"/>
                </a:lnTo>
                <a:lnTo>
                  <a:pt x="1740744" y="918807"/>
                </a:lnTo>
                <a:lnTo>
                  <a:pt x="1742033" y="871016"/>
                </a:lnTo>
                <a:lnTo>
                  <a:pt x="1740744" y="823226"/>
                </a:lnTo>
                <a:lnTo>
                  <a:pt x="1736922" y="776109"/>
                </a:lnTo>
                <a:lnTo>
                  <a:pt x="1730633" y="729733"/>
                </a:lnTo>
                <a:lnTo>
                  <a:pt x="1721943" y="684162"/>
                </a:lnTo>
                <a:lnTo>
                  <a:pt x="1710920" y="639465"/>
                </a:lnTo>
                <a:lnTo>
                  <a:pt x="1697628" y="595707"/>
                </a:lnTo>
                <a:lnTo>
                  <a:pt x="1682136" y="552955"/>
                </a:lnTo>
                <a:lnTo>
                  <a:pt x="1664508" y="511275"/>
                </a:lnTo>
                <a:lnTo>
                  <a:pt x="1644812" y="470733"/>
                </a:lnTo>
                <a:lnTo>
                  <a:pt x="1623114" y="431397"/>
                </a:lnTo>
                <a:lnTo>
                  <a:pt x="1599480" y="393332"/>
                </a:lnTo>
                <a:lnTo>
                  <a:pt x="1573978" y="356605"/>
                </a:lnTo>
                <a:lnTo>
                  <a:pt x="1546672" y="321282"/>
                </a:lnTo>
                <a:lnTo>
                  <a:pt x="1517630" y="287429"/>
                </a:lnTo>
                <a:lnTo>
                  <a:pt x="1486919" y="255114"/>
                </a:lnTo>
                <a:lnTo>
                  <a:pt x="1454603" y="224402"/>
                </a:lnTo>
                <a:lnTo>
                  <a:pt x="1420751" y="195360"/>
                </a:lnTo>
                <a:lnTo>
                  <a:pt x="1385428" y="168055"/>
                </a:lnTo>
                <a:lnTo>
                  <a:pt x="1348701" y="142552"/>
                </a:lnTo>
                <a:lnTo>
                  <a:pt x="1310636" y="118919"/>
                </a:lnTo>
                <a:lnTo>
                  <a:pt x="1271299" y="97221"/>
                </a:lnTo>
                <a:lnTo>
                  <a:pt x="1230758" y="77525"/>
                </a:lnTo>
                <a:lnTo>
                  <a:pt x="1189078" y="59897"/>
                </a:lnTo>
                <a:lnTo>
                  <a:pt x="1146325" y="44404"/>
                </a:lnTo>
                <a:lnTo>
                  <a:pt x="1102568" y="31113"/>
                </a:lnTo>
                <a:lnTo>
                  <a:pt x="1057870" y="20089"/>
                </a:lnTo>
                <a:lnTo>
                  <a:pt x="1012300" y="11400"/>
                </a:lnTo>
                <a:lnTo>
                  <a:pt x="965923" y="5110"/>
                </a:lnTo>
                <a:lnTo>
                  <a:pt x="918807" y="1288"/>
                </a:lnTo>
                <a:lnTo>
                  <a:pt x="871016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3">
            <a:extLst>
              <a:ext uri="{FF2B5EF4-FFF2-40B4-BE49-F238E27FC236}">
                <a16:creationId xmlns:a16="http://schemas.microsoft.com/office/drawing/2014/main" id="{2E23C361-F404-8DEA-3669-F09536585986}"/>
              </a:ext>
            </a:extLst>
          </p:cNvPr>
          <p:cNvSpPr/>
          <p:nvPr userDrawn="1"/>
        </p:nvSpPr>
        <p:spPr>
          <a:xfrm>
            <a:off x="7835316" y="4563116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70" h="801370">
                <a:moveTo>
                  <a:pt x="400672" y="0"/>
                </a:moveTo>
                <a:lnTo>
                  <a:pt x="353945" y="2695"/>
                </a:lnTo>
                <a:lnTo>
                  <a:pt x="308801" y="10581"/>
                </a:lnTo>
                <a:lnTo>
                  <a:pt x="265542" y="23357"/>
                </a:lnTo>
                <a:lnTo>
                  <a:pt x="224466" y="40722"/>
                </a:lnTo>
                <a:lnTo>
                  <a:pt x="185876" y="62376"/>
                </a:lnTo>
                <a:lnTo>
                  <a:pt x="150072" y="88018"/>
                </a:lnTo>
                <a:lnTo>
                  <a:pt x="117354" y="117348"/>
                </a:lnTo>
                <a:lnTo>
                  <a:pt x="88023" y="150064"/>
                </a:lnTo>
                <a:lnTo>
                  <a:pt x="62379" y="185867"/>
                </a:lnTo>
                <a:lnTo>
                  <a:pt x="40724" y="224456"/>
                </a:lnTo>
                <a:lnTo>
                  <a:pt x="23358" y="265531"/>
                </a:lnTo>
                <a:lnTo>
                  <a:pt x="10582" y="308789"/>
                </a:lnTo>
                <a:lnTo>
                  <a:pt x="2695" y="353933"/>
                </a:lnTo>
                <a:lnTo>
                  <a:pt x="0" y="400659"/>
                </a:lnTo>
                <a:lnTo>
                  <a:pt x="2695" y="447386"/>
                </a:lnTo>
                <a:lnTo>
                  <a:pt x="10582" y="492529"/>
                </a:lnTo>
                <a:lnTo>
                  <a:pt x="23358" y="535789"/>
                </a:lnTo>
                <a:lnTo>
                  <a:pt x="40724" y="576864"/>
                </a:lnTo>
                <a:lnTo>
                  <a:pt x="62379" y="615455"/>
                </a:lnTo>
                <a:lnTo>
                  <a:pt x="88023" y="651259"/>
                </a:lnTo>
                <a:lnTo>
                  <a:pt x="117354" y="683977"/>
                </a:lnTo>
                <a:lnTo>
                  <a:pt x="150072" y="713308"/>
                </a:lnTo>
                <a:lnTo>
                  <a:pt x="185876" y="738951"/>
                </a:lnTo>
                <a:lnTo>
                  <a:pt x="224466" y="760607"/>
                </a:lnTo>
                <a:lnTo>
                  <a:pt x="265542" y="777973"/>
                </a:lnTo>
                <a:lnTo>
                  <a:pt x="308801" y="790749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49"/>
                </a:lnTo>
                <a:lnTo>
                  <a:pt x="535802" y="777973"/>
                </a:lnTo>
                <a:lnTo>
                  <a:pt x="576877" y="760607"/>
                </a:lnTo>
                <a:lnTo>
                  <a:pt x="615467" y="738951"/>
                </a:lnTo>
                <a:lnTo>
                  <a:pt x="651272" y="713308"/>
                </a:lnTo>
                <a:lnTo>
                  <a:pt x="683990" y="683977"/>
                </a:lnTo>
                <a:lnTo>
                  <a:pt x="713321" y="651259"/>
                </a:lnTo>
                <a:lnTo>
                  <a:pt x="738964" y="615455"/>
                </a:lnTo>
                <a:lnTo>
                  <a:pt x="760619" y="576864"/>
                </a:lnTo>
                <a:lnTo>
                  <a:pt x="777985" y="535789"/>
                </a:lnTo>
                <a:lnTo>
                  <a:pt x="790762" y="492529"/>
                </a:lnTo>
                <a:lnTo>
                  <a:pt x="798648" y="447386"/>
                </a:lnTo>
                <a:lnTo>
                  <a:pt x="801344" y="400659"/>
                </a:lnTo>
                <a:lnTo>
                  <a:pt x="798648" y="353933"/>
                </a:lnTo>
                <a:lnTo>
                  <a:pt x="790762" y="308789"/>
                </a:lnTo>
                <a:lnTo>
                  <a:pt x="777985" y="265531"/>
                </a:lnTo>
                <a:lnTo>
                  <a:pt x="760619" y="224456"/>
                </a:lnTo>
                <a:lnTo>
                  <a:pt x="738964" y="185867"/>
                </a:lnTo>
                <a:lnTo>
                  <a:pt x="713321" y="150064"/>
                </a:lnTo>
                <a:lnTo>
                  <a:pt x="683990" y="117348"/>
                </a:lnTo>
                <a:lnTo>
                  <a:pt x="651272" y="88018"/>
                </a:lnTo>
                <a:lnTo>
                  <a:pt x="615467" y="62376"/>
                </a:lnTo>
                <a:lnTo>
                  <a:pt x="576877" y="40722"/>
                </a:lnTo>
                <a:lnTo>
                  <a:pt x="535802" y="23357"/>
                </a:lnTo>
                <a:lnTo>
                  <a:pt x="492542" y="10581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4">
            <a:extLst>
              <a:ext uri="{FF2B5EF4-FFF2-40B4-BE49-F238E27FC236}">
                <a16:creationId xmlns:a16="http://schemas.microsoft.com/office/drawing/2014/main" id="{8F872847-C3B1-760C-F4AC-93DE0329412F}"/>
              </a:ext>
            </a:extLst>
          </p:cNvPr>
          <p:cNvSpPr/>
          <p:nvPr userDrawn="1"/>
        </p:nvSpPr>
        <p:spPr>
          <a:xfrm>
            <a:off x="1216272" y="5587712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53AA02F4-3E33-4C39-33D6-76AA82402885}"/>
              </a:ext>
            </a:extLst>
          </p:cNvPr>
          <p:cNvSpPr/>
          <p:nvPr userDrawn="1"/>
        </p:nvSpPr>
        <p:spPr>
          <a:xfrm>
            <a:off x="1412140" y="6469124"/>
            <a:ext cx="726683" cy="386373"/>
          </a:xfrm>
          <a:custGeom>
            <a:avLst/>
            <a:gdLst/>
            <a:ahLst/>
            <a:cxnLst/>
            <a:rect l="l" t="t" r="r" b="b"/>
            <a:pathLst>
              <a:path w="801369" h="426084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1461" y="425998"/>
                </a:lnTo>
                <a:lnTo>
                  <a:pt x="799883" y="4259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6424BFED-D43D-B183-B5D0-83BFB42B63F4}"/>
              </a:ext>
            </a:extLst>
          </p:cNvPr>
          <p:cNvSpPr/>
          <p:nvPr userDrawn="1"/>
        </p:nvSpPr>
        <p:spPr>
          <a:xfrm>
            <a:off x="6266493" y="1757951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323976F1-F0C5-8B3E-79EC-251D18A92F44}"/>
              </a:ext>
            </a:extLst>
          </p:cNvPr>
          <p:cNvSpPr/>
          <p:nvPr userDrawn="1"/>
        </p:nvSpPr>
        <p:spPr>
          <a:xfrm>
            <a:off x="5464115" y="1757951"/>
            <a:ext cx="461393" cy="46139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85B9E685-8F26-653C-637B-4560BD554CAC}"/>
              </a:ext>
            </a:extLst>
          </p:cNvPr>
          <p:cNvSpPr/>
          <p:nvPr userDrawn="1"/>
        </p:nvSpPr>
        <p:spPr>
          <a:xfrm>
            <a:off x="11179577" y="5951053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DD70F8A-7EFD-5D5B-1E28-80954C36380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-675252" y="3608859"/>
            <a:ext cx="2541584" cy="250746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716E89-11E9-0EE9-B918-701C3474FC65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97941" y="157862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E0D997F-9BA9-D907-D51C-98EE5253644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165783" y="337721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6699D40-1F2D-3294-96EC-2A152766E695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2610263" y="2722475"/>
            <a:ext cx="4695781" cy="463273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46399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E88070B-C0E0-2DFA-FBCE-FF205B25449F}"/>
              </a:ext>
            </a:extLst>
          </p:cNvPr>
          <p:cNvSpPr/>
          <p:nvPr userDrawn="1"/>
        </p:nvSpPr>
        <p:spPr>
          <a:xfrm>
            <a:off x="0" y="0"/>
            <a:ext cx="12192000" cy="561109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CF4C07C6-A816-4189-5ED3-13CBBC6455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394" y="378791"/>
            <a:ext cx="721415" cy="78339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6CD29F-DD6E-7A48-CCD6-9C6255686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6079" y="16192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B92D793-C5B9-290F-8A51-998397F1596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1200" y="16065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D02AAC-2E9A-297E-5FBA-6A1DB2DEBD44}"/>
              </a:ext>
            </a:extLst>
          </p:cNvPr>
          <p:cNvSpPr/>
          <p:nvPr userDrawn="1"/>
        </p:nvSpPr>
        <p:spPr>
          <a:xfrm>
            <a:off x="0" y="5611091"/>
            <a:ext cx="12192000" cy="12414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C140E3-2C98-83A6-68C2-F9EA088D0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83769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592DBB-3127-B9DA-A8ED-74612E741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311900"/>
            <a:ext cx="890016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3452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5602DFDE-91C8-1198-84C9-6B47DF32E1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4"/>
            <a:ext cx="12191999" cy="68599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650ED17-E3D9-4121-6A80-931E19125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0558" y="1589518"/>
            <a:ext cx="6950801" cy="1655762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50364-A7A7-5137-B495-A7AC34AB6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67888" y="3602038"/>
            <a:ext cx="7034432" cy="112784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  <a:latin typeface="Quicksand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016D5-6D8A-ABCA-3F32-19AB5ECD7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06931" y="334197"/>
            <a:ext cx="6975069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26" name="Picture 25" descr="Logo&#10;&#10;Description automatically generated with low confidence">
            <a:extLst>
              <a:ext uri="{FF2B5EF4-FFF2-40B4-BE49-F238E27FC236}">
                <a16:creationId xmlns:a16="http://schemas.microsoft.com/office/drawing/2014/main" id="{E1FC5BD7-8732-ADEF-9F81-3F0DADD8D5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3115" y="5178055"/>
            <a:ext cx="2299500" cy="1509823"/>
          </a:xfrm>
          <a:prstGeom prst="rect">
            <a:avLst/>
          </a:prstGeom>
        </p:spPr>
      </p:pic>
      <p:sp>
        <p:nvSpPr>
          <p:cNvPr id="4" name="bg object 16">
            <a:extLst>
              <a:ext uri="{FF2B5EF4-FFF2-40B4-BE49-F238E27FC236}">
                <a16:creationId xmlns:a16="http://schemas.microsoft.com/office/drawing/2014/main" id="{B4B644FB-95FA-6EDA-6FED-827826630CF5}"/>
              </a:ext>
            </a:extLst>
          </p:cNvPr>
          <p:cNvSpPr/>
          <p:nvPr userDrawn="1"/>
        </p:nvSpPr>
        <p:spPr>
          <a:xfrm>
            <a:off x="0" y="0"/>
            <a:ext cx="12196036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bg object 22">
            <a:extLst>
              <a:ext uri="{FF2B5EF4-FFF2-40B4-BE49-F238E27FC236}">
                <a16:creationId xmlns:a16="http://schemas.microsoft.com/office/drawing/2014/main" id="{0AE57D1D-C602-D804-C54D-2D4490A8C58B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DBB0B5F-ADE3-8414-3A02-657E418AC0DB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9" name="bg object 23">
              <a:extLst>
                <a:ext uri="{FF2B5EF4-FFF2-40B4-BE49-F238E27FC236}">
                  <a16:creationId xmlns:a16="http://schemas.microsoft.com/office/drawing/2014/main" id="{742AF513-0C60-17A9-A18D-A60D81932D73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bg object 24">
              <a:extLst>
                <a:ext uri="{FF2B5EF4-FFF2-40B4-BE49-F238E27FC236}">
                  <a16:creationId xmlns:a16="http://schemas.microsoft.com/office/drawing/2014/main" id="{82DF1E9D-9ED6-0765-BA59-47412EF761C4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bg object 25">
              <a:extLst>
                <a:ext uri="{FF2B5EF4-FFF2-40B4-BE49-F238E27FC236}">
                  <a16:creationId xmlns:a16="http://schemas.microsoft.com/office/drawing/2014/main" id="{41DFA0C9-37C5-865F-DE4C-71FFC1242385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bg object 26">
              <a:extLst>
                <a:ext uri="{FF2B5EF4-FFF2-40B4-BE49-F238E27FC236}">
                  <a16:creationId xmlns:a16="http://schemas.microsoft.com/office/drawing/2014/main" id="{A97405C5-BA9E-3E50-5EE4-86D8BB8CBE5F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g object 27">
              <a:extLst>
                <a:ext uri="{FF2B5EF4-FFF2-40B4-BE49-F238E27FC236}">
                  <a16:creationId xmlns:a16="http://schemas.microsoft.com/office/drawing/2014/main" id="{F9CA87C5-DDA8-A034-CDEE-035CCD2ED685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bg object 28">
              <a:extLst>
                <a:ext uri="{FF2B5EF4-FFF2-40B4-BE49-F238E27FC236}">
                  <a16:creationId xmlns:a16="http://schemas.microsoft.com/office/drawing/2014/main" id="{90D7E55E-4E14-077D-A0E6-685D8806F8AF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bg object 29">
              <a:extLst>
                <a:ext uri="{FF2B5EF4-FFF2-40B4-BE49-F238E27FC236}">
                  <a16:creationId xmlns:a16="http://schemas.microsoft.com/office/drawing/2014/main" id="{403C3BD6-6871-BFA8-7388-F7B3139F7B9E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bg object 30">
              <a:extLst>
                <a:ext uri="{FF2B5EF4-FFF2-40B4-BE49-F238E27FC236}">
                  <a16:creationId xmlns:a16="http://schemas.microsoft.com/office/drawing/2014/main" id="{871DEB28-7CB4-BFB2-D985-7BB00802A00A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31">
              <a:extLst>
                <a:ext uri="{FF2B5EF4-FFF2-40B4-BE49-F238E27FC236}">
                  <a16:creationId xmlns:a16="http://schemas.microsoft.com/office/drawing/2014/main" id="{7AB2F4E0-4F41-76B6-29EA-9D21908BA090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2A2F847-751D-2027-261E-45EB29D46D22}"/>
              </a:ext>
            </a:extLst>
          </p:cNvPr>
          <p:cNvGrpSpPr/>
          <p:nvPr userDrawn="1"/>
        </p:nvGrpSpPr>
        <p:grpSpPr>
          <a:xfrm>
            <a:off x="9768269" y="5263373"/>
            <a:ext cx="1969708" cy="1135284"/>
            <a:chOff x="9768269" y="5263373"/>
            <a:chExt cx="1969708" cy="1135284"/>
          </a:xfrm>
        </p:grpSpPr>
        <p:sp>
          <p:nvSpPr>
            <p:cNvPr id="19" name="bg object 17">
              <a:extLst>
                <a:ext uri="{FF2B5EF4-FFF2-40B4-BE49-F238E27FC236}">
                  <a16:creationId xmlns:a16="http://schemas.microsoft.com/office/drawing/2014/main" id="{BAAF826F-CE46-7334-AF7F-B075D4CB2502}"/>
                </a:ext>
              </a:extLst>
            </p:cNvPr>
            <p:cNvSpPr/>
            <p:nvPr/>
          </p:nvSpPr>
          <p:spPr>
            <a:xfrm>
              <a:off x="11351110" y="6342803"/>
              <a:ext cx="232420" cy="55854"/>
            </a:xfrm>
            <a:custGeom>
              <a:avLst/>
              <a:gdLst/>
              <a:ahLst/>
              <a:cxnLst/>
              <a:rect l="l" t="t" r="r" b="b"/>
              <a:pathLst>
                <a:path w="255904" h="61595">
                  <a:moveTo>
                    <a:pt x="45491" y="54190"/>
                  </a:moveTo>
                  <a:lnTo>
                    <a:pt x="43802" y="52768"/>
                  </a:lnTo>
                  <a:lnTo>
                    <a:pt x="9245" y="52768"/>
                  </a:lnTo>
                  <a:lnTo>
                    <a:pt x="9245" y="44780"/>
                  </a:lnTo>
                  <a:lnTo>
                    <a:pt x="14655" y="41402"/>
                  </a:lnTo>
                  <a:lnTo>
                    <a:pt x="26657" y="35267"/>
                  </a:lnTo>
                  <a:lnTo>
                    <a:pt x="34874" y="30670"/>
                  </a:lnTo>
                  <a:lnTo>
                    <a:pt x="40576" y="26225"/>
                  </a:lnTo>
                  <a:lnTo>
                    <a:pt x="43891" y="21399"/>
                  </a:lnTo>
                  <a:lnTo>
                    <a:pt x="44958" y="15633"/>
                  </a:lnTo>
                  <a:lnTo>
                    <a:pt x="43383" y="8851"/>
                  </a:lnTo>
                  <a:lnTo>
                    <a:pt x="38976" y="3962"/>
                  </a:lnTo>
                  <a:lnTo>
                    <a:pt x="32181" y="1003"/>
                  </a:lnTo>
                  <a:lnTo>
                    <a:pt x="23456" y="0"/>
                  </a:lnTo>
                  <a:lnTo>
                    <a:pt x="18389" y="0"/>
                  </a:lnTo>
                  <a:lnTo>
                    <a:pt x="12979" y="711"/>
                  </a:lnTo>
                  <a:lnTo>
                    <a:pt x="3378" y="5245"/>
                  </a:lnTo>
                  <a:lnTo>
                    <a:pt x="1155" y="7023"/>
                  </a:lnTo>
                  <a:lnTo>
                    <a:pt x="1155" y="11455"/>
                  </a:lnTo>
                  <a:lnTo>
                    <a:pt x="2667" y="13144"/>
                  </a:lnTo>
                  <a:lnTo>
                    <a:pt x="5600" y="13144"/>
                  </a:lnTo>
                  <a:lnTo>
                    <a:pt x="6311" y="12877"/>
                  </a:lnTo>
                  <a:lnTo>
                    <a:pt x="12255" y="8978"/>
                  </a:lnTo>
                  <a:lnTo>
                    <a:pt x="16611" y="7467"/>
                  </a:lnTo>
                  <a:lnTo>
                    <a:pt x="31267" y="7467"/>
                  </a:lnTo>
                  <a:lnTo>
                    <a:pt x="36601" y="10210"/>
                  </a:lnTo>
                  <a:lnTo>
                    <a:pt x="36601" y="21678"/>
                  </a:lnTo>
                  <a:lnTo>
                    <a:pt x="30124" y="24879"/>
                  </a:lnTo>
                  <a:lnTo>
                    <a:pt x="19456" y="30378"/>
                  </a:lnTo>
                  <a:lnTo>
                    <a:pt x="11137" y="35166"/>
                  </a:lnTo>
                  <a:lnTo>
                    <a:pt x="5041" y="40436"/>
                  </a:lnTo>
                  <a:lnTo>
                    <a:pt x="1282" y="47193"/>
                  </a:lnTo>
                  <a:lnTo>
                    <a:pt x="0" y="56413"/>
                  </a:lnTo>
                  <a:lnTo>
                    <a:pt x="0" y="58458"/>
                  </a:lnTo>
                  <a:lnTo>
                    <a:pt x="1600" y="60236"/>
                  </a:lnTo>
                  <a:lnTo>
                    <a:pt x="41757" y="60236"/>
                  </a:lnTo>
                  <a:lnTo>
                    <a:pt x="43802" y="60236"/>
                  </a:lnTo>
                  <a:lnTo>
                    <a:pt x="45491" y="58724"/>
                  </a:lnTo>
                  <a:lnTo>
                    <a:pt x="45491" y="54190"/>
                  </a:lnTo>
                  <a:close/>
                </a:path>
                <a:path w="255904" h="61595">
                  <a:moveTo>
                    <a:pt x="118351" y="30645"/>
                  </a:moveTo>
                  <a:lnTo>
                    <a:pt x="116674" y="19113"/>
                  </a:lnTo>
                  <a:lnTo>
                    <a:pt x="111785" y="9334"/>
                  </a:lnTo>
                  <a:lnTo>
                    <a:pt x="109994" y="7810"/>
                  </a:lnTo>
                  <a:lnTo>
                    <a:pt x="109994" y="30645"/>
                  </a:lnTo>
                  <a:lnTo>
                    <a:pt x="108788" y="39789"/>
                  </a:lnTo>
                  <a:lnTo>
                    <a:pt x="105371" y="47142"/>
                  </a:lnTo>
                  <a:lnTo>
                    <a:pt x="100025" y="52057"/>
                  </a:lnTo>
                  <a:lnTo>
                    <a:pt x="93027" y="53835"/>
                  </a:lnTo>
                  <a:lnTo>
                    <a:pt x="86017" y="52057"/>
                  </a:lnTo>
                  <a:lnTo>
                    <a:pt x="80670" y="47142"/>
                  </a:lnTo>
                  <a:lnTo>
                    <a:pt x="77254" y="39789"/>
                  </a:lnTo>
                  <a:lnTo>
                    <a:pt x="76060" y="30645"/>
                  </a:lnTo>
                  <a:lnTo>
                    <a:pt x="77254" y="21526"/>
                  </a:lnTo>
                  <a:lnTo>
                    <a:pt x="80670" y="14160"/>
                  </a:lnTo>
                  <a:lnTo>
                    <a:pt x="86017" y="9258"/>
                  </a:lnTo>
                  <a:lnTo>
                    <a:pt x="93027" y="7467"/>
                  </a:lnTo>
                  <a:lnTo>
                    <a:pt x="100025" y="9258"/>
                  </a:lnTo>
                  <a:lnTo>
                    <a:pt x="105371" y="14160"/>
                  </a:lnTo>
                  <a:lnTo>
                    <a:pt x="108788" y="21526"/>
                  </a:lnTo>
                  <a:lnTo>
                    <a:pt x="109994" y="30645"/>
                  </a:lnTo>
                  <a:lnTo>
                    <a:pt x="109994" y="7810"/>
                  </a:lnTo>
                  <a:lnTo>
                    <a:pt x="109601" y="7467"/>
                  </a:lnTo>
                  <a:lnTo>
                    <a:pt x="103835" y="2540"/>
                  </a:lnTo>
                  <a:lnTo>
                    <a:pt x="93027" y="0"/>
                  </a:lnTo>
                  <a:lnTo>
                    <a:pt x="82207" y="2540"/>
                  </a:lnTo>
                  <a:lnTo>
                    <a:pt x="74269" y="9334"/>
                  </a:lnTo>
                  <a:lnTo>
                    <a:pt x="69367" y="19113"/>
                  </a:lnTo>
                  <a:lnTo>
                    <a:pt x="67703" y="30645"/>
                  </a:lnTo>
                  <a:lnTo>
                    <a:pt x="69367" y="42189"/>
                  </a:lnTo>
                  <a:lnTo>
                    <a:pt x="74269" y="51981"/>
                  </a:lnTo>
                  <a:lnTo>
                    <a:pt x="82207" y="58762"/>
                  </a:lnTo>
                  <a:lnTo>
                    <a:pt x="93027" y="61302"/>
                  </a:lnTo>
                  <a:lnTo>
                    <a:pt x="103835" y="58762"/>
                  </a:lnTo>
                  <a:lnTo>
                    <a:pt x="109601" y="53835"/>
                  </a:lnTo>
                  <a:lnTo>
                    <a:pt x="111785" y="51981"/>
                  </a:lnTo>
                  <a:lnTo>
                    <a:pt x="116674" y="42189"/>
                  </a:lnTo>
                  <a:lnTo>
                    <a:pt x="118351" y="30645"/>
                  </a:lnTo>
                  <a:close/>
                </a:path>
                <a:path w="255904" h="61595">
                  <a:moveTo>
                    <a:pt x="186664" y="54190"/>
                  </a:moveTo>
                  <a:lnTo>
                    <a:pt x="184975" y="52768"/>
                  </a:lnTo>
                  <a:lnTo>
                    <a:pt x="150418" y="52768"/>
                  </a:lnTo>
                  <a:lnTo>
                    <a:pt x="150418" y="44780"/>
                  </a:lnTo>
                  <a:lnTo>
                    <a:pt x="155829" y="41402"/>
                  </a:lnTo>
                  <a:lnTo>
                    <a:pt x="167830" y="35267"/>
                  </a:lnTo>
                  <a:lnTo>
                    <a:pt x="176047" y="30670"/>
                  </a:lnTo>
                  <a:lnTo>
                    <a:pt x="181749" y="26225"/>
                  </a:lnTo>
                  <a:lnTo>
                    <a:pt x="185051" y="21399"/>
                  </a:lnTo>
                  <a:lnTo>
                    <a:pt x="186131" y="15633"/>
                  </a:lnTo>
                  <a:lnTo>
                    <a:pt x="184556" y="8851"/>
                  </a:lnTo>
                  <a:lnTo>
                    <a:pt x="180149" y="3962"/>
                  </a:lnTo>
                  <a:lnTo>
                    <a:pt x="173342" y="1003"/>
                  </a:lnTo>
                  <a:lnTo>
                    <a:pt x="164630" y="0"/>
                  </a:lnTo>
                  <a:lnTo>
                    <a:pt x="159562" y="0"/>
                  </a:lnTo>
                  <a:lnTo>
                    <a:pt x="154139" y="711"/>
                  </a:lnTo>
                  <a:lnTo>
                    <a:pt x="144551" y="5245"/>
                  </a:lnTo>
                  <a:lnTo>
                    <a:pt x="142328" y="7023"/>
                  </a:lnTo>
                  <a:lnTo>
                    <a:pt x="142328" y="11455"/>
                  </a:lnTo>
                  <a:lnTo>
                    <a:pt x="143840" y="13144"/>
                  </a:lnTo>
                  <a:lnTo>
                    <a:pt x="146773" y="13144"/>
                  </a:lnTo>
                  <a:lnTo>
                    <a:pt x="147485" y="12877"/>
                  </a:lnTo>
                  <a:lnTo>
                    <a:pt x="153428" y="8978"/>
                  </a:lnTo>
                  <a:lnTo>
                    <a:pt x="157784" y="7467"/>
                  </a:lnTo>
                  <a:lnTo>
                    <a:pt x="172440" y="7467"/>
                  </a:lnTo>
                  <a:lnTo>
                    <a:pt x="177774" y="10210"/>
                  </a:lnTo>
                  <a:lnTo>
                    <a:pt x="177774" y="21678"/>
                  </a:lnTo>
                  <a:lnTo>
                    <a:pt x="171297" y="24879"/>
                  </a:lnTo>
                  <a:lnTo>
                    <a:pt x="160629" y="30378"/>
                  </a:lnTo>
                  <a:lnTo>
                    <a:pt x="152311" y="35166"/>
                  </a:lnTo>
                  <a:lnTo>
                    <a:pt x="146202" y="40436"/>
                  </a:lnTo>
                  <a:lnTo>
                    <a:pt x="142455" y="47193"/>
                  </a:lnTo>
                  <a:lnTo>
                    <a:pt x="141173" y="56413"/>
                  </a:lnTo>
                  <a:lnTo>
                    <a:pt x="141173" y="58458"/>
                  </a:lnTo>
                  <a:lnTo>
                    <a:pt x="142773" y="60236"/>
                  </a:lnTo>
                  <a:lnTo>
                    <a:pt x="182930" y="60236"/>
                  </a:lnTo>
                  <a:lnTo>
                    <a:pt x="184975" y="60236"/>
                  </a:lnTo>
                  <a:lnTo>
                    <a:pt x="186664" y="58724"/>
                  </a:lnTo>
                  <a:lnTo>
                    <a:pt x="186664" y="54190"/>
                  </a:lnTo>
                  <a:close/>
                </a:path>
                <a:path w="255904" h="61595">
                  <a:moveTo>
                    <a:pt x="255689" y="34734"/>
                  </a:moveTo>
                  <a:lnTo>
                    <a:pt x="250532" y="29845"/>
                  </a:lnTo>
                  <a:lnTo>
                    <a:pt x="242709" y="27724"/>
                  </a:lnTo>
                  <a:lnTo>
                    <a:pt x="249021" y="25057"/>
                  </a:lnTo>
                  <a:lnTo>
                    <a:pt x="251688" y="20078"/>
                  </a:lnTo>
                  <a:lnTo>
                    <a:pt x="251688" y="5511"/>
                  </a:lnTo>
                  <a:lnTo>
                    <a:pt x="244309" y="0"/>
                  </a:lnTo>
                  <a:lnTo>
                    <a:pt x="228765" y="0"/>
                  </a:lnTo>
                  <a:lnTo>
                    <a:pt x="223875" y="622"/>
                  </a:lnTo>
                  <a:lnTo>
                    <a:pt x="217665" y="3200"/>
                  </a:lnTo>
                  <a:lnTo>
                    <a:pt x="214287" y="4800"/>
                  </a:lnTo>
                  <a:lnTo>
                    <a:pt x="214287" y="9410"/>
                  </a:lnTo>
                  <a:lnTo>
                    <a:pt x="215442" y="10934"/>
                  </a:lnTo>
                  <a:lnTo>
                    <a:pt x="219176" y="10934"/>
                  </a:lnTo>
                  <a:lnTo>
                    <a:pt x="224764" y="8001"/>
                  </a:lnTo>
                  <a:lnTo>
                    <a:pt x="228053" y="7112"/>
                  </a:lnTo>
                  <a:lnTo>
                    <a:pt x="238721" y="7112"/>
                  </a:lnTo>
                  <a:lnTo>
                    <a:pt x="243332" y="9410"/>
                  </a:lnTo>
                  <a:lnTo>
                    <a:pt x="243332" y="21056"/>
                  </a:lnTo>
                  <a:lnTo>
                    <a:pt x="238988" y="24968"/>
                  </a:lnTo>
                  <a:lnTo>
                    <a:pt x="224497" y="24968"/>
                  </a:lnTo>
                  <a:lnTo>
                    <a:pt x="222808" y="26479"/>
                  </a:lnTo>
                  <a:lnTo>
                    <a:pt x="222808" y="30746"/>
                  </a:lnTo>
                  <a:lnTo>
                    <a:pt x="224497" y="32334"/>
                  </a:lnTo>
                  <a:lnTo>
                    <a:pt x="240576" y="32334"/>
                  </a:lnTo>
                  <a:lnTo>
                    <a:pt x="247332" y="35356"/>
                  </a:lnTo>
                  <a:lnTo>
                    <a:pt x="247332" y="50114"/>
                  </a:lnTo>
                  <a:lnTo>
                    <a:pt x="241033" y="54190"/>
                  </a:lnTo>
                  <a:lnTo>
                    <a:pt x="224142" y="54190"/>
                  </a:lnTo>
                  <a:lnTo>
                    <a:pt x="219798" y="51536"/>
                  </a:lnTo>
                  <a:lnTo>
                    <a:pt x="214376" y="47358"/>
                  </a:lnTo>
                  <a:lnTo>
                    <a:pt x="213575" y="47002"/>
                  </a:lnTo>
                  <a:lnTo>
                    <a:pt x="210731" y="47002"/>
                  </a:lnTo>
                  <a:lnTo>
                    <a:pt x="208864" y="48336"/>
                  </a:lnTo>
                  <a:lnTo>
                    <a:pt x="208864" y="51879"/>
                  </a:lnTo>
                  <a:lnTo>
                    <a:pt x="209575" y="53035"/>
                  </a:lnTo>
                  <a:lnTo>
                    <a:pt x="216065" y="58635"/>
                  </a:lnTo>
                  <a:lnTo>
                    <a:pt x="223342" y="61302"/>
                  </a:lnTo>
                  <a:lnTo>
                    <a:pt x="232410" y="61302"/>
                  </a:lnTo>
                  <a:lnTo>
                    <a:pt x="241820" y="60007"/>
                  </a:lnTo>
                  <a:lnTo>
                    <a:pt x="249186" y="56324"/>
                  </a:lnTo>
                  <a:lnTo>
                    <a:pt x="253974" y="50622"/>
                  </a:lnTo>
                  <a:lnTo>
                    <a:pt x="255689" y="43268"/>
                  </a:lnTo>
                  <a:lnTo>
                    <a:pt x="255689" y="3473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" name="bg object 18">
              <a:extLst>
                <a:ext uri="{FF2B5EF4-FFF2-40B4-BE49-F238E27FC236}">
                  <a16:creationId xmlns:a16="http://schemas.microsoft.com/office/drawing/2014/main" id="{31062B08-FB35-F4A7-FBF0-155069803C4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768269" y="6133524"/>
              <a:ext cx="114872" cy="115198"/>
            </a:xfrm>
            <a:prstGeom prst="rect">
              <a:avLst/>
            </a:prstGeom>
          </p:spPr>
        </p:pic>
        <p:sp>
          <p:nvSpPr>
            <p:cNvPr id="21" name="bg object 19">
              <a:extLst>
                <a:ext uri="{FF2B5EF4-FFF2-40B4-BE49-F238E27FC236}">
                  <a16:creationId xmlns:a16="http://schemas.microsoft.com/office/drawing/2014/main" id="{E509692B-6CAC-0FED-64BC-9606B3F1983E}"/>
                </a:ext>
              </a:extLst>
            </p:cNvPr>
            <p:cNvSpPr/>
            <p:nvPr/>
          </p:nvSpPr>
          <p:spPr>
            <a:xfrm>
              <a:off x="9916387" y="6076176"/>
              <a:ext cx="65747" cy="171594"/>
            </a:xfrm>
            <a:custGeom>
              <a:avLst/>
              <a:gdLst/>
              <a:ahLst/>
              <a:cxnLst/>
              <a:rect l="l" t="t" r="r" b="b"/>
              <a:pathLst>
                <a:path w="72390" h="189229">
                  <a:moveTo>
                    <a:pt x="16637" y="3606"/>
                  </a:moveTo>
                  <a:lnTo>
                    <a:pt x="13030" y="0"/>
                  </a:lnTo>
                  <a:lnTo>
                    <a:pt x="3606" y="0"/>
                  </a:lnTo>
                  <a:lnTo>
                    <a:pt x="0" y="3606"/>
                  </a:lnTo>
                  <a:lnTo>
                    <a:pt x="0" y="185559"/>
                  </a:lnTo>
                  <a:lnTo>
                    <a:pt x="3606" y="189166"/>
                  </a:lnTo>
                  <a:lnTo>
                    <a:pt x="8318" y="189166"/>
                  </a:lnTo>
                  <a:lnTo>
                    <a:pt x="13030" y="189166"/>
                  </a:lnTo>
                  <a:lnTo>
                    <a:pt x="16637" y="185559"/>
                  </a:lnTo>
                  <a:lnTo>
                    <a:pt x="16637" y="3606"/>
                  </a:lnTo>
                  <a:close/>
                </a:path>
                <a:path w="72390" h="189229">
                  <a:moveTo>
                    <a:pt x="72110" y="3606"/>
                  </a:moveTo>
                  <a:lnTo>
                    <a:pt x="68503" y="0"/>
                  </a:lnTo>
                  <a:lnTo>
                    <a:pt x="59080" y="0"/>
                  </a:lnTo>
                  <a:lnTo>
                    <a:pt x="55473" y="3606"/>
                  </a:lnTo>
                  <a:lnTo>
                    <a:pt x="55473" y="185559"/>
                  </a:lnTo>
                  <a:lnTo>
                    <a:pt x="59080" y="189166"/>
                  </a:lnTo>
                  <a:lnTo>
                    <a:pt x="63792" y="189166"/>
                  </a:lnTo>
                  <a:lnTo>
                    <a:pt x="68503" y="189166"/>
                  </a:lnTo>
                  <a:lnTo>
                    <a:pt x="72110" y="185559"/>
                  </a:lnTo>
                  <a:lnTo>
                    <a:pt x="72110" y="360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bg object 20">
              <a:extLst>
                <a:ext uri="{FF2B5EF4-FFF2-40B4-BE49-F238E27FC236}">
                  <a16:creationId xmlns:a16="http://schemas.microsoft.com/office/drawing/2014/main" id="{DBC183A0-C771-AD8C-32A9-9BB4F858671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9901316" y="6093783"/>
              <a:ext cx="1836661" cy="304614"/>
            </a:xfrm>
            <a:prstGeom prst="rect">
              <a:avLst/>
            </a:prstGeom>
          </p:spPr>
        </p:pic>
        <p:pic>
          <p:nvPicPr>
            <p:cNvPr id="23" name="bg object 21">
              <a:extLst>
                <a:ext uri="{FF2B5EF4-FFF2-40B4-BE49-F238E27FC236}">
                  <a16:creationId xmlns:a16="http://schemas.microsoft.com/office/drawing/2014/main" id="{4ABD801C-87DB-3542-A37F-967924692D7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391018" y="5263373"/>
              <a:ext cx="711091" cy="7725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70864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8709D87-BA1C-72DE-952F-21C692F1E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85562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3pPr>
            <a:lvl4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12CE7DC-3D38-24CE-2865-100D1D0D32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96922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3pPr>
            <a:lvl4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12CE7DC-3D38-24CE-2865-100D1D0D32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23474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964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3EBB3160-CA27-C8B6-D23F-CD3FF6DEF018}"/>
              </a:ext>
            </a:extLst>
          </p:cNvPr>
          <p:cNvSpPr/>
          <p:nvPr/>
        </p:nvSpPr>
        <p:spPr>
          <a:xfrm>
            <a:off x="0" y="2304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E5C77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41">
            <a:extLst>
              <a:ext uri="{FF2B5EF4-FFF2-40B4-BE49-F238E27FC236}">
                <a16:creationId xmlns:a16="http://schemas.microsoft.com/office/drawing/2014/main" id="{1F265747-21F4-F8D5-7000-0C7551B15B3B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7" name="object 42">
              <a:extLst>
                <a:ext uri="{FF2B5EF4-FFF2-40B4-BE49-F238E27FC236}">
                  <a16:creationId xmlns:a16="http://schemas.microsoft.com/office/drawing/2014/main" id="{E1D2DE1E-9BDB-B3F5-F4EF-84B8C6E7614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8" name="object 43">
              <a:extLst>
                <a:ext uri="{FF2B5EF4-FFF2-40B4-BE49-F238E27FC236}">
                  <a16:creationId xmlns:a16="http://schemas.microsoft.com/office/drawing/2014/main" id="{5D372F6C-7566-B498-043D-AF7E960D8B5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9" name="object 44">
              <a:extLst>
                <a:ext uri="{FF2B5EF4-FFF2-40B4-BE49-F238E27FC236}">
                  <a16:creationId xmlns:a16="http://schemas.microsoft.com/office/drawing/2014/main" id="{1E0FB701-E23F-08F2-0FF8-429E562EFBA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0" name="bg object 22">
            <a:extLst>
              <a:ext uri="{FF2B5EF4-FFF2-40B4-BE49-F238E27FC236}">
                <a16:creationId xmlns:a16="http://schemas.microsoft.com/office/drawing/2014/main" id="{E49E1922-67A9-AF82-FCD4-D491460A739C}"/>
              </a:ext>
            </a:extLst>
          </p:cNvPr>
          <p:cNvSpPr/>
          <p:nvPr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179DA6-2F44-5B6F-989D-DAE932BB98EB}"/>
              </a:ext>
            </a:extLst>
          </p:cNvPr>
          <p:cNvGrpSpPr/>
          <p:nvPr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12" name="bg object 23">
              <a:extLst>
                <a:ext uri="{FF2B5EF4-FFF2-40B4-BE49-F238E27FC236}">
                  <a16:creationId xmlns:a16="http://schemas.microsoft.com/office/drawing/2014/main" id="{012FF536-9F0D-1AF8-B975-16A4030FE206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g object 24">
              <a:extLst>
                <a:ext uri="{FF2B5EF4-FFF2-40B4-BE49-F238E27FC236}">
                  <a16:creationId xmlns:a16="http://schemas.microsoft.com/office/drawing/2014/main" id="{DC9193E7-CBF6-B6CC-E025-5DABC39F5ECA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bg object 25">
              <a:extLst>
                <a:ext uri="{FF2B5EF4-FFF2-40B4-BE49-F238E27FC236}">
                  <a16:creationId xmlns:a16="http://schemas.microsoft.com/office/drawing/2014/main" id="{C1499BA4-E8C7-3B13-EB73-D7E5A024F6F1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bg object 26">
              <a:extLst>
                <a:ext uri="{FF2B5EF4-FFF2-40B4-BE49-F238E27FC236}">
                  <a16:creationId xmlns:a16="http://schemas.microsoft.com/office/drawing/2014/main" id="{BAF2F270-F520-5256-1A13-88753B966785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bg object 27">
              <a:extLst>
                <a:ext uri="{FF2B5EF4-FFF2-40B4-BE49-F238E27FC236}">
                  <a16:creationId xmlns:a16="http://schemas.microsoft.com/office/drawing/2014/main" id="{8680BA9C-5F31-C21D-A980-22CC149FCB08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28">
              <a:extLst>
                <a:ext uri="{FF2B5EF4-FFF2-40B4-BE49-F238E27FC236}">
                  <a16:creationId xmlns:a16="http://schemas.microsoft.com/office/drawing/2014/main" id="{764DA62F-52BC-833A-C4DD-A842EB4C2F92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bg object 29">
              <a:extLst>
                <a:ext uri="{FF2B5EF4-FFF2-40B4-BE49-F238E27FC236}">
                  <a16:creationId xmlns:a16="http://schemas.microsoft.com/office/drawing/2014/main" id="{3E3A813A-BC09-90A1-0126-A506AD1F20D3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bg object 30">
              <a:extLst>
                <a:ext uri="{FF2B5EF4-FFF2-40B4-BE49-F238E27FC236}">
                  <a16:creationId xmlns:a16="http://schemas.microsoft.com/office/drawing/2014/main" id="{D80260F0-006F-80ED-A187-F278F9CDEA7B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bg object 31">
              <a:extLst>
                <a:ext uri="{FF2B5EF4-FFF2-40B4-BE49-F238E27FC236}">
                  <a16:creationId xmlns:a16="http://schemas.microsoft.com/office/drawing/2014/main" id="{E23A1099-90BC-41AF-13CD-F62E1BE0DB67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0901D-0772-6483-D106-1C6C5F3B0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696" y="6114954"/>
            <a:ext cx="887821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653" y="365125"/>
            <a:ext cx="8547587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652" y="1825625"/>
            <a:ext cx="8547587" cy="3772535"/>
          </a:xfrm>
        </p:spPr>
        <p:txBody>
          <a:bodyPr>
            <a:normAutofit/>
          </a:bodyPr>
          <a:lstStyle>
            <a:lvl1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2pPr>
            <a:lvl3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3pPr>
            <a:lvl4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4pPr>
            <a:lvl5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2FB7BBB5-8E7B-2C74-9A01-95D1F0F194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1" name="object 2">
            <a:extLst>
              <a:ext uri="{FF2B5EF4-FFF2-40B4-BE49-F238E27FC236}">
                <a16:creationId xmlns:a16="http://schemas.microsoft.com/office/drawing/2014/main" id="{5D8EBB56-9BBA-83C8-F2D6-2EB90166A4B1}"/>
              </a:ext>
            </a:extLst>
          </p:cNvPr>
          <p:cNvSpPr/>
          <p:nvPr userDrawn="1"/>
        </p:nvSpPr>
        <p:spPr>
          <a:xfrm>
            <a:off x="0" y="2304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E5C77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3" name="object 41">
            <a:extLst>
              <a:ext uri="{FF2B5EF4-FFF2-40B4-BE49-F238E27FC236}">
                <a16:creationId xmlns:a16="http://schemas.microsoft.com/office/drawing/2014/main" id="{280D7A27-268C-26F3-1EC4-8F09D143B58F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24" name="object 42">
              <a:extLst>
                <a:ext uri="{FF2B5EF4-FFF2-40B4-BE49-F238E27FC236}">
                  <a16:creationId xmlns:a16="http://schemas.microsoft.com/office/drawing/2014/main" id="{DE6B21C3-E111-5265-1BA5-2221CF3EC3C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25" name="object 43">
              <a:extLst>
                <a:ext uri="{FF2B5EF4-FFF2-40B4-BE49-F238E27FC236}">
                  <a16:creationId xmlns:a16="http://schemas.microsoft.com/office/drawing/2014/main" id="{A83EA67B-3FD2-8979-FD6D-BBD4CBA7585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26" name="object 44">
              <a:extLst>
                <a:ext uri="{FF2B5EF4-FFF2-40B4-BE49-F238E27FC236}">
                  <a16:creationId xmlns:a16="http://schemas.microsoft.com/office/drawing/2014/main" id="{AAFC1CF5-CE86-CCAD-DF12-62F0ED8CD39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27" name="bg object 22">
            <a:extLst>
              <a:ext uri="{FF2B5EF4-FFF2-40B4-BE49-F238E27FC236}">
                <a16:creationId xmlns:a16="http://schemas.microsoft.com/office/drawing/2014/main" id="{80A10EFE-1E15-715D-F9F4-4BDA2E53F6C7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1935E6A-06FA-9C14-C06F-A432B7C5F3A9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29" name="bg object 23">
              <a:extLst>
                <a:ext uri="{FF2B5EF4-FFF2-40B4-BE49-F238E27FC236}">
                  <a16:creationId xmlns:a16="http://schemas.microsoft.com/office/drawing/2014/main" id="{B8B9BD78-B2E4-CE3A-AB8D-A044167EDFCE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bg object 24">
              <a:extLst>
                <a:ext uri="{FF2B5EF4-FFF2-40B4-BE49-F238E27FC236}">
                  <a16:creationId xmlns:a16="http://schemas.microsoft.com/office/drawing/2014/main" id="{69EB9887-C7E7-CAC3-0820-CA3BC9151B76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bg object 25">
              <a:extLst>
                <a:ext uri="{FF2B5EF4-FFF2-40B4-BE49-F238E27FC236}">
                  <a16:creationId xmlns:a16="http://schemas.microsoft.com/office/drawing/2014/main" id="{7A5CCACE-51D5-6954-7802-99C514AA4E7F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bg object 26">
              <a:extLst>
                <a:ext uri="{FF2B5EF4-FFF2-40B4-BE49-F238E27FC236}">
                  <a16:creationId xmlns:a16="http://schemas.microsoft.com/office/drawing/2014/main" id="{FB81B4F0-B1BE-9B06-1A21-DB7DC7A01ED3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bg object 27">
              <a:extLst>
                <a:ext uri="{FF2B5EF4-FFF2-40B4-BE49-F238E27FC236}">
                  <a16:creationId xmlns:a16="http://schemas.microsoft.com/office/drawing/2014/main" id="{4AD811B4-0D5A-BAA6-B265-9CB95DD8EF18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bg object 28">
              <a:extLst>
                <a:ext uri="{FF2B5EF4-FFF2-40B4-BE49-F238E27FC236}">
                  <a16:creationId xmlns:a16="http://schemas.microsoft.com/office/drawing/2014/main" id="{DF066FFD-A4A6-C4D5-EE6F-093D5E34F636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bg object 29">
              <a:extLst>
                <a:ext uri="{FF2B5EF4-FFF2-40B4-BE49-F238E27FC236}">
                  <a16:creationId xmlns:a16="http://schemas.microsoft.com/office/drawing/2014/main" id="{9160EF97-2768-CC7F-93AA-9D2705EB008B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bg object 30">
              <a:extLst>
                <a:ext uri="{FF2B5EF4-FFF2-40B4-BE49-F238E27FC236}">
                  <a16:creationId xmlns:a16="http://schemas.microsoft.com/office/drawing/2014/main" id="{A7B67C51-8739-EF1D-7A01-C285AA4F83E4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bg object 31">
              <a:extLst>
                <a:ext uri="{FF2B5EF4-FFF2-40B4-BE49-F238E27FC236}">
                  <a16:creationId xmlns:a16="http://schemas.microsoft.com/office/drawing/2014/main" id="{D82AB68D-37AE-7372-AF57-B01981B697F7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8" name="Picture 37" descr="A picture containing text&#10;&#10;Description automatically generated">
            <a:extLst>
              <a:ext uri="{FF2B5EF4-FFF2-40B4-BE49-F238E27FC236}">
                <a16:creationId xmlns:a16="http://schemas.microsoft.com/office/drawing/2014/main" id="{F1671604-C41D-40A5-533C-5C0B4880657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3204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B0B9-AB91-426F-92D7-F2F806F72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1840" y="1825625"/>
            <a:ext cx="5267959" cy="3619212"/>
          </a:xfr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72201" y="1825625"/>
            <a:ext cx="5282789" cy="36192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2213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51839" y="1825625"/>
            <a:ext cx="10703151" cy="385820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38" y="6114954"/>
            <a:ext cx="89040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06768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54725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/>
        </p:nvSpPr>
        <p:spPr>
          <a:xfrm>
            <a:off x="7795390" y="0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9489945-D82B-16EA-87F9-4DB1AC09BCAB}"/>
              </a:ext>
            </a:extLst>
          </p:cNvPr>
          <p:cNvGrpSpPr/>
          <p:nvPr/>
        </p:nvGrpSpPr>
        <p:grpSpPr>
          <a:xfrm>
            <a:off x="9598" y="4557616"/>
            <a:ext cx="3097294" cy="2298207"/>
            <a:chOff x="9598" y="4557616"/>
            <a:chExt cx="3097294" cy="2298207"/>
          </a:xfrm>
        </p:grpSpPr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863EF05D-4F3C-2EAC-0BD4-17EC180015FD}"/>
                </a:ext>
              </a:extLst>
            </p:cNvPr>
            <p:cNvSpPr/>
            <p:nvPr/>
          </p:nvSpPr>
          <p:spPr>
            <a:xfrm>
              <a:off x="1316370" y="6327748"/>
              <a:ext cx="614398" cy="528026"/>
            </a:xfrm>
            <a:custGeom>
              <a:avLst/>
              <a:gdLst/>
              <a:ahLst/>
              <a:cxnLst/>
              <a:rect l="l" t="t" r="r" b="b"/>
              <a:pathLst>
                <a:path w="677544" h="582295">
                  <a:moveTo>
                    <a:pt x="166528" y="0"/>
                  </a:moveTo>
                  <a:lnTo>
                    <a:pt x="120868" y="10089"/>
                  </a:lnTo>
                  <a:lnTo>
                    <a:pt x="78669" y="31774"/>
                  </a:lnTo>
                  <a:lnTo>
                    <a:pt x="42356" y="64816"/>
                  </a:lnTo>
                  <a:lnTo>
                    <a:pt x="16032" y="106257"/>
                  </a:lnTo>
                  <a:lnTo>
                    <a:pt x="1987" y="151637"/>
                  </a:lnTo>
                  <a:lnTo>
                    <a:pt x="0" y="198494"/>
                  </a:lnTo>
                  <a:lnTo>
                    <a:pt x="9847" y="244368"/>
                  </a:lnTo>
                  <a:lnTo>
                    <a:pt x="31309" y="286798"/>
                  </a:lnTo>
                  <a:lnTo>
                    <a:pt x="64161" y="323324"/>
                  </a:lnTo>
                  <a:lnTo>
                    <a:pt x="72492" y="330740"/>
                  </a:lnTo>
                  <a:lnTo>
                    <a:pt x="89603" y="347032"/>
                  </a:lnTo>
                  <a:lnTo>
                    <a:pt x="143984" y="405507"/>
                  </a:lnTo>
                  <a:lnTo>
                    <a:pt x="178162" y="447320"/>
                  </a:lnTo>
                  <a:lnTo>
                    <a:pt x="214937" y="497272"/>
                  </a:lnTo>
                  <a:lnTo>
                    <a:pt x="252764" y="555177"/>
                  </a:lnTo>
                  <a:lnTo>
                    <a:pt x="267956" y="581905"/>
                  </a:lnTo>
                  <a:lnTo>
                    <a:pt x="676956" y="581905"/>
                  </a:lnTo>
                  <a:lnTo>
                    <a:pt x="654079" y="529010"/>
                  </a:lnTo>
                  <a:lnTo>
                    <a:pt x="630400" y="479497"/>
                  </a:lnTo>
                  <a:lnTo>
                    <a:pt x="605823" y="432480"/>
                  </a:lnTo>
                  <a:lnTo>
                    <a:pt x="580604" y="387985"/>
                  </a:lnTo>
                  <a:lnTo>
                    <a:pt x="555000" y="346039"/>
                  </a:lnTo>
                  <a:lnTo>
                    <a:pt x="529267" y="306670"/>
                  </a:lnTo>
                  <a:lnTo>
                    <a:pt x="503664" y="269906"/>
                  </a:lnTo>
                  <a:lnTo>
                    <a:pt x="478447" y="235772"/>
                  </a:lnTo>
                  <a:lnTo>
                    <a:pt x="453872" y="204296"/>
                  </a:lnTo>
                  <a:lnTo>
                    <a:pt x="407680" y="149427"/>
                  </a:lnTo>
                  <a:lnTo>
                    <a:pt x="367144" y="105516"/>
                  </a:lnTo>
                  <a:lnTo>
                    <a:pt x="334319" y="72781"/>
                  </a:lnTo>
                  <a:lnTo>
                    <a:pt x="300026" y="41702"/>
                  </a:lnTo>
                  <a:lnTo>
                    <a:pt x="258532" y="15566"/>
                  </a:lnTo>
                  <a:lnTo>
                    <a:pt x="213224" y="1745"/>
                  </a:lnTo>
                  <a:lnTo>
                    <a:pt x="16652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CB05B7DE-D1A8-92D2-6742-E486186D58AC}"/>
                </a:ext>
              </a:extLst>
            </p:cNvPr>
            <p:cNvSpPr/>
            <p:nvPr/>
          </p:nvSpPr>
          <p:spPr>
            <a:xfrm>
              <a:off x="809301" y="61720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B42D0B40-8726-CFF6-45C8-D6DD9073ADC5}"/>
                </a:ext>
              </a:extLst>
            </p:cNvPr>
            <p:cNvSpPr/>
            <p:nvPr/>
          </p:nvSpPr>
          <p:spPr>
            <a:xfrm>
              <a:off x="1879928" y="6007961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94932D03-1DB6-8192-A37F-9BC1EC4AD97E}"/>
                </a:ext>
              </a:extLst>
            </p:cNvPr>
            <p:cNvSpPr/>
            <p:nvPr/>
          </p:nvSpPr>
          <p:spPr>
            <a:xfrm>
              <a:off x="1755210" y="540721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870B1266-3B19-111C-D391-A0174B1E3628}"/>
                </a:ext>
              </a:extLst>
            </p:cNvPr>
            <p:cNvSpPr/>
            <p:nvPr/>
          </p:nvSpPr>
          <p:spPr>
            <a:xfrm>
              <a:off x="1088618" y="55500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A1B8B559-FDDD-3768-BE13-48E60B67B738}"/>
                </a:ext>
              </a:extLst>
            </p:cNvPr>
            <p:cNvSpPr/>
            <p:nvPr/>
          </p:nvSpPr>
          <p:spPr>
            <a:xfrm>
              <a:off x="2464854" y="6493633"/>
              <a:ext cx="642038" cy="362190"/>
            </a:xfrm>
            <a:custGeom>
              <a:avLst/>
              <a:gdLst/>
              <a:ahLst/>
              <a:cxnLst/>
              <a:rect l="l" t="t" r="r" b="b"/>
              <a:pathLst>
                <a:path w="708025" h="39941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2602" y="398971"/>
                  </a:lnTo>
                  <a:lnTo>
                    <a:pt x="705193" y="398971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0">
              <a:extLst>
                <a:ext uri="{FF2B5EF4-FFF2-40B4-BE49-F238E27FC236}">
                  <a16:creationId xmlns:a16="http://schemas.microsoft.com/office/drawing/2014/main" id="{9412B5DB-583A-8967-5D35-7E8CFCA6F004}"/>
                </a:ext>
              </a:extLst>
            </p:cNvPr>
            <p:cNvSpPr/>
            <p:nvPr/>
          </p:nvSpPr>
          <p:spPr>
            <a:xfrm>
              <a:off x="871644" y="47069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1">
              <a:extLst>
                <a:ext uri="{FF2B5EF4-FFF2-40B4-BE49-F238E27FC236}">
                  <a16:creationId xmlns:a16="http://schemas.microsoft.com/office/drawing/2014/main" id="{357063B8-8F24-016B-ED8E-8A23E93B516A}"/>
                </a:ext>
              </a:extLst>
            </p:cNvPr>
            <p:cNvSpPr/>
            <p:nvPr/>
          </p:nvSpPr>
          <p:spPr>
            <a:xfrm>
              <a:off x="9598" y="4557616"/>
              <a:ext cx="660464" cy="2298092"/>
            </a:xfrm>
            <a:custGeom>
              <a:avLst/>
              <a:gdLst/>
              <a:ahLst/>
              <a:cxnLst/>
              <a:rect l="l" t="t" r="r" b="b"/>
              <a:pathLst>
                <a:path w="728345" h="2534284">
                  <a:moveTo>
                    <a:pt x="339378" y="1250138"/>
                  </a:moveTo>
                  <a:lnTo>
                    <a:pt x="0" y="1250138"/>
                  </a:lnTo>
                  <a:lnTo>
                    <a:pt x="0" y="1503516"/>
                  </a:lnTo>
                  <a:lnTo>
                    <a:pt x="293099" y="1503516"/>
                  </a:lnTo>
                  <a:lnTo>
                    <a:pt x="275124" y="1549292"/>
                  </a:lnTo>
                  <a:lnTo>
                    <a:pt x="255196" y="1595118"/>
                  </a:lnTo>
                  <a:lnTo>
                    <a:pt x="233381" y="1640986"/>
                  </a:lnTo>
                  <a:lnTo>
                    <a:pt x="209742" y="1686883"/>
                  </a:lnTo>
                  <a:lnTo>
                    <a:pt x="184347" y="1732802"/>
                  </a:lnTo>
                  <a:lnTo>
                    <a:pt x="157259" y="1778731"/>
                  </a:lnTo>
                  <a:lnTo>
                    <a:pt x="128545" y="1824661"/>
                  </a:lnTo>
                  <a:lnTo>
                    <a:pt x="0" y="1824661"/>
                  </a:lnTo>
                  <a:lnTo>
                    <a:pt x="0" y="2533969"/>
                  </a:lnTo>
                  <a:lnTo>
                    <a:pt x="37168" y="2533969"/>
                  </a:lnTo>
                  <a:lnTo>
                    <a:pt x="53615" y="2516081"/>
                  </a:lnTo>
                  <a:lnTo>
                    <a:pt x="88081" y="2477894"/>
                  </a:lnTo>
                  <a:lnTo>
                    <a:pt x="121975" y="2439592"/>
                  </a:lnTo>
                  <a:lnTo>
                    <a:pt x="155266" y="2401172"/>
                  </a:lnTo>
                  <a:lnTo>
                    <a:pt x="187926" y="2362631"/>
                  </a:lnTo>
                  <a:lnTo>
                    <a:pt x="219923" y="2323966"/>
                  </a:lnTo>
                  <a:lnTo>
                    <a:pt x="251229" y="2285174"/>
                  </a:lnTo>
                  <a:lnTo>
                    <a:pt x="281814" y="2246251"/>
                  </a:lnTo>
                  <a:lnTo>
                    <a:pt x="311647" y="2207195"/>
                  </a:lnTo>
                  <a:lnTo>
                    <a:pt x="340699" y="2168003"/>
                  </a:lnTo>
                  <a:lnTo>
                    <a:pt x="368940" y="2128671"/>
                  </a:lnTo>
                  <a:lnTo>
                    <a:pt x="396340" y="2089196"/>
                  </a:lnTo>
                  <a:lnTo>
                    <a:pt x="422870" y="2049575"/>
                  </a:lnTo>
                  <a:lnTo>
                    <a:pt x="448500" y="2009806"/>
                  </a:lnTo>
                  <a:lnTo>
                    <a:pt x="473199" y="1969884"/>
                  </a:lnTo>
                  <a:lnTo>
                    <a:pt x="496938" y="1929807"/>
                  </a:lnTo>
                  <a:lnTo>
                    <a:pt x="519688" y="1889572"/>
                  </a:lnTo>
                  <a:lnTo>
                    <a:pt x="541417" y="1849176"/>
                  </a:lnTo>
                  <a:lnTo>
                    <a:pt x="562098" y="1808615"/>
                  </a:lnTo>
                  <a:lnTo>
                    <a:pt x="581699" y="1767887"/>
                  </a:lnTo>
                  <a:lnTo>
                    <a:pt x="600190" y="1726988"/>
                  </a:lnTo>
                  <a:lnTo>
                    <a:pt x="617543" y="1685916"/>
                  </a:lnTo>
                  <a:lnTo>
                    <a:pt x="633727" y="1644667"/>
                  </a:lnTo>
                  <a:lnTo>
                    <a:pt x="648713" y="1603237"/>
                  </a:lnTo>
                  <a:lnTo>
                    <a:pt x="662470" y="1561625"/>
                  </a:lnTo>
                  <a:lnTo>
                    <a:pt x="674969" y="1519827"/>
                  </a:lnTo>
                  <a:lnTo>
                    <a:pt x="686180" y="1477840"/>
                  </a:lnTo>
                  <a:lnTo>
                    <a:pt x="696072" y="1435660"/>
                  </a:lnTo>
                  <a:lnTo>
                    <a:pt x="704618" y="1393285"/>
                  </a:lnTo>
                  <a:lnTo>
                    <a:pt x="711785" y="1350711"/>
                  </a:lnTo>
                  <a:lnTo>
                    <a:pt x="717546" y="1307936"/>
                  </a:lnTo>
                  <a:lnTo>
                    <a:pt x="722689" y="1252323"/>
                  </a:lnTo>
                  <a:lnTo>
                    <a:pt x="353602" y="1252323"/>
                  </a:lnTo>
                  <a:lnTo>
                    <a:pt x="346541" y="1251103"/>
                  </a:lnTo>
                  <a:lnTo>
                    <a:pt x="339378" y="1250138"/>
                  </a:lnTo>
                  <a:close/>
                </a:path>
                <a:path w="728345" h="2534284">
                  <a:moveTo>
                    <a:pt x="109487" y="0"/>
                  </a:moveTo>
                  <a:lnTo>
                    <a:pt x="63837" y="10091"/>
                  </a:lnTo>
                  <a:lnTo>
                    <a:pt x="21648" y="31783"/>
                  </a:lnTo>
                  <a:lnTo>
                    <a:pt x="37" y="51456"/>
                  </a:lnTo>
                  <a:lnTo>
                    <a:pt x="0" y="315397"/>
                  </a:lnTo>
                  <a:lnTo>
                    <a:pt x="7146" y="323343"/>
                  </a:lnTo>
                  <a:lnTo>
                    <a:pt x="15476" y="330759"/>
                  </a:lnTo>
                  <a:lnTo>
                    <a:pt x="32587" y="347051"/>
                  </a:lnTo>
                  <a:lnTo>
                    <a:pt x="86967" y="405526"/>
                  </a:lnTo>
                  <a:lnTo>
                    <a:pt x="121144" y="447339"/>
                  </a:lnTo>
                  <a:lnTo>
                    <a:pt x="157917" y="497291"/>
                  </a:lnTo>
                  <a:lnTo>
                    <a:pt x="195742" y="555196"/>
                  </a:lnTo>
                  <a:lnTo>
                    <a:pt x="233071" y="620872"/>
                  </a:lnTo>
                  <a:lnTo>
                    <a:pt x="268359" y="694132"/>
                  </a:lnTo>
                  <a:lnTo>
                    <a:pt x="0" y="694132"/>
                  </a:lnTo>
                  <a:lnTo>
                    <a:pt x="0" y="947497"/>
                  </a:lnTo>
                  <a:lnTo>
                    <a:pt x="344547" y="947497"/>
                  </a:lnTo>
                  <a:lnTo>
                    <a:pt x="351547" y="994539"/>
                  </a:lnTo>
                  <a:lnTo>
                    <a:pt x="356566" y="1043098"/>
                  </a:lnTo>
                  <a:lnTo>
                    <a:pt x="359442" y="1093166"/>
                  </a:lnTo>
                  <a:lnTo>
                    <a:pt x="360014" y="1144733"/>
                  </a:lnTo>
                  <a:lnTo>
                    <a:pt x="358121" y="1197788"/>
                  </a:lnTo>
                  <a:lnTo>
                    <a:pt x="353602" y="1252323"/>
                  </a:lnTo>
                  <a:lnTo>
                    <a:pt x="722689" y="1252323"/>
                  </a:lnTo>
                  <a:lnTo>
                    <a:pt x="724699" y="1230596"/>
                  </a:lnTo>
                  <a:lnTo>
                    <a:pt x="727870" y="1155425"/>
                  </a:lnTo>
                  <a:lnTo>
                    <a:pt x="727315" y="1082452"/>
                  </a:lnTo>
                  <a:lnTo>
                    <a:pt x="723292" y="1011702"/>
                  </a:lnTo>
                  <a:lnTo>
                    <a:pt x="716057" y="943204"/>
                  </a:lnTo>
                  <a:lnTo>
                    <a:pt x="705867" y="876984"/>
                  </a:lnTo>
                  <a:lnTo>
                    <a:pt x="692980" y="813069"/>
                  </a:lnTo>
                  <a:lnTo>
                    <a:pt x="677652" y="751487"/>
                  </a:lnTo>
                  <a:lnTo>
                    <a:pt x="660140" y="692264"/>
                  </a:lnTo>
                  <a:lnTo>
                    <a:pt x="640702" y="635429"/>
                  </a:lnTo>
                  <a:lnTo>
                    <a:pt x="619593" y="581007"/>
                  </a:lnTo>
                  <a:lnTo>
                    <a:pt x="597072" y="529026"/>
                  </a:lnTo>
                  <a:lnTo>
                    <a:pt x="573395" y="479514"/>
                  </a:lnTo>
                  <a:lnTo>
                    <a:pt x="548819" y="432497"/>
                  </a:lnTo>
                  <a:lnTo>
                    <a:pt x="523601" y="388002"/>
                  </a:lnTo>
                  <a:lnTo>
                    <a:pt x="497998" y="346057"/>
                  </a:lnTo>
                  <a:lnTo>
                    <a:pt x="472267" y="306688"/>
                  </a:lnTo>
                  <a:lnTo>
                    <a:pt x="446665" y="269924"/>
                  </a:lnTo>
                  <a:lnTo>
                    <a:pt x="421449" y="235790"/>
                  </a:lnTo>
                  <a:lnTo>
                    <a:pt x="396875" y="204314"/>
                  </a:lnTo>
                  <a:lnTo>
                    <a:pt x="350685" y="149446"/>
                  </a:lnTo>
                  <a:lnTo>
                    <a:pt x="310151" y="105535"/>
                  </a:lnTo>
                  <a:lnTo>
                    <a:pt x="277327" y="72800"/>
                  </a:lnTo>
                  <a:lnTo>
                    <a:pt x="247047" y="45123"/>
                  </a:lnTo>
                  <a:lnTo>
                    <a:pt x="201504" y="15575"/>
                  </a:lnTo>
                  <a:lnTo>
                    <a:pt x="156182" y="1748"/>
                  </a:lnTo>
                  <a:lnTo>
                    <a:pt x="10948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5996" y="1882770"/>
            <a:ext cx="8915844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0CDC13CF-4706-A7E8-74E9-C59CB672B0F9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C3D008AB-81B6-0241-0234-89319ACB0CF1}"/>
              </a:ext>
            </a:extLst>
          </p:cNvPr>
          <p:cNvSpPr/>
          <p:nvPr userDrawn="1"/>
        </p:nvSpPr>
        <p:spPr>
          <a:xfrm>
            <a:off x="7795390" y="0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926032D-FE08-B935-CEE3-A21AD7939736}"/>
              </a:ext>
            </a:extLst>
          </p:cNvPr>
          <p:cNvGrpSpPr/>
          <p:nvPr userDrawn="1"/>
        </p:nvGrpSpPr>
        <p:grpSpPr>
          <a:xfrm>
            <a:off x="9598" y="4557616"/>
            <a:ext cx="3097294" cy="2298207"/>
            <a:chOff x="9598" y="4557616"/>
            <a:chExt cx="3097294" cy="2298207"/>
          </a:xfrm>
        </p:grpSpPr>
        <p:sp>
          <p:nvSpPr>
            <p:cNvPr id="7" name="object 4">
              <a:extLst>
                <a:ext uri="{FF2B5EF4-FFF2-40B4-BE49-F238E27FC236}">
                  <a16:creationId xmlns:a16="http://schemas.microsoft.com/office/drawing/2014/main" id="{EA176304-F298-9342-CEFB-1E90D390670C}"/>
                </a:ext>
              </a:extLst>
            </p:cNvPr>
            <p:cNvSpPr/>
            <p:nvPr/>
          </p:nvSpPr>
          <p:spPr>
            <a:xfrm>
              <a:off x="1316370" y="6327748"/>
              <a:ext cx="614398" cy="528026"/>
            </a:xfrm>
            <a:custGeom>
              <a:avLst/>
              <a:gdLst/>
              <a:ahLst/>
              <a:cxnLst/>
              <a:rect l="l" t="t" r="r" b="b"/>
              <a:pathLst>
                <a:path w="677544" h="582295">
                  <a:moveTo>
                    <a:pt x="166528" y="0"/>
                  </a:moveTo>
                  <a:lnTo>
                    <a:pt x="120868" y="10089"/>
                  </a:lnTo>
                  <a:lnTo>
                    <a:pt x="78669" y="31774"/>
                  </a:lnTo>
                  <a:lnTo>
                    <a:pt x="42356" y="64816"/>
                  </a:lnTo>
                  <a:lnTo>
                    <a:pt x="16032" y="106257"/>
                  </a:lnTo>
                  <a:lnTo>
                    <a:pt x="1987" y="151637"/>
                  </a:lnTo>
                  <a:lnTo>
                    <a:pt x="0" y="198494"/>
                  </a:lnTo>
                  <a:lnTo>
                    <a:pt x="9847" y="244368"/>
                  </a:lnTo>
                  <a:lnTo>
                    <a:pt x="31309" y="286798"/>
                  </a:lnTo>
                  <a:lnTo>
                    <a:pt x="64161" y="323324"/>
                  </a:lnTo>
                  <a:lnTo>
                    <a:pt x="72492" y="330740"/>
                  </a:lnTo>
                  <a:lnTo>
                    <a:pt x="89603" y="347032"/>
                  </a:lnTo>
                  <a:lnTo>
                    <a:pt x="143984" y="405507"/>
                  </a:lnTo>
                  <a:lnTo>
                    <a:pt x="178162" y="447320"/>
                  </a:lnTo>
                  <a:lnTo>
                    <a:pt x="214937" y="497272"/>
                  </a:lnTo>
                  <a:lnTo>
                    <a:pt x="252764" y="555177"/>
                  </a:lnTo>
                  <a:lnTo>
                    <a:pt x="267956" y="581905"/>
                  </a:lnTo>
                  <a:lnTo>
                    <a:pt x="676956" y="581905"/>
                  </a:lnTo>
                  <a:lnTo>
                    <a:pt x="654079" y="529010"/>
                  </a:lnTo>
                  <a:lnTo>
                    <a:pt x="630400" y="479497"/>
                  </a:lnTo>
                  <a:lnTo>
                    <a:pt x="605823" y="432480"/>
                  </a:lnTo>
                  <a:lnTo>
                    <a:pt x="580604" y="387985"/>
                  </a:lnTo>
                  <a:lnTo>
                    <a:pt x="555000" y="346039"/>
                  </a:lnTo>
                  <a:lnTo>
                    <a:pt x="529267" y="306670"/>
                  </a:lnTo>
                  <a:lnTo>
                    <a:pt x="503664" y="269906"/>
                  </a:lnTo>
                  <a:lnTo>
                    <a:pt x="478447" y="235772"/>
                  </a:lnTo>
                  <a:lnTo>
                    <a:pt x="453872" y="204296"/>
                  </a:lnTo>
                  <a:lnTo>
                    <a:pt x="407680" y="149427"/>
                  </a:lnTo>
                  <a:lnTo>
                    <a:pt x="367144" y="105516"/>
                  </a:lnTo>
                  <a:lnTo>
                    <a:pt x="334319" y="72781"/>
                  </a:lnTo>
                  <a:lnTo>
                    <a:pt x="300026" y="41702"/>
                  </a:lnTo>
                  <a:lnTo>
                    <a:pt x="258532" y="15566"/>
                  </a:lnTo>
                  <a:lnTo>
                    <a:pt x="213224" y="1745"/>
                  </a:lnTo>
                  <a:lnTo>
                    <a:pt x="16652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5">
              <a:extLst>
                <a:ext uri="{FF2B5EF4-FFF2-40B4-BE49-F238E27FC236}">
                  <a16:creationId xmlns:a16="http://schemas.microsoft.com/office/drawing/2014/main" id="{8903B313-3D90-A48E-1153-F113259D920E}"/>
                </a:ext>
              </a:extLst>
            </p:cNvPr>
            <p:cNvSpPr/>
            <p:nvPr/>
          </p:nvSpPr>
          <p:spPr>
            <a:xfrm>
              <a:off x="809301" y="61720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6">
              <a:extLst>
                <a:ext uri="{FF2B5EF4-FFF2-40B4-BE49-F238E27FC236}">
                  <a16:creationId xmlns:a16="http://schemas.microsoft.com/office/drawing/2014/main" id="{80EBB071-57DB-3650-92EE-A93A0307ADCA}"/>
                </a:ext>
              </a:extLst>
            </p:cNvPr>
            <p:cNvSpPr/>
            <p:nvPr/>
          </p:nvSpPr>
          <p:spPr>
            <a:xfrm>
              <a:off x="1879928" y="6007961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7">
              <a:extLst>
                <a:ext uri="{FF2B5EF4-FFF2-40B4-BE49-F238E27FC236}">
                  <a16:creationId xmlns:a16="http://schemas.microsoft.com/office/drawing/2014/main" id="{12B8B65A-732C-7F40-6ECE-1AF494DED75C}"/>
                </a:ext>
              </a:extLst>
            </p:cNvPr>
            <p:cNvSpPr/>
            <p:nvPr/>
          </p:nvSpPr>
          <p:spPr>
            <a:xfrm>
              <a:off x="1755210" y="540721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8">
              <a:extLst>
                <a:ext uri="{FF2B5EF4-FFF2-40B4-BE49-F238E27FC236}">
                  <a16:creationId xmlns:a16="http://schemas.microsoft.com/office/drawing/2014/main" id="{BA0507D0-9C65-C598-F5A0-B3C1DF8EE07C}"/>
                </a:ext>
              </a:extLst>
            </p:cNvPr>
            <p:cNvSpPr/>
            <p:nvPr/>
          </p:nvSpPr>
          <p:spPr>
            <a:xfrm>
              <a:off x="1088618" y="55500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B65A9611-BF85-AC00-FCE2-4940FCA412F8}"/>
                </a:ext>
              </a:extLst>
            </p:cNvPr>
            <p:cNvSpPr/>
            <p:nvPr/>
          </p:nvSpPr>
          <p:spPr>
            <a:xfrm>
              <a:off x="2464854" y="6493633"/>
              <a:ext cx="642038" cy="362190"/>
            </a:xfrm>
            <a:custGeom>
              <a:avLst/>
              <a:gdLst/>
              <a:ahLst/>
              <a:cxnLst/>
              <a:rect l="l" t="t" r="r" b="b"/>
              <a:pathLst>
                <a:path w="708025" h="39941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2602" y="398971"/>
                  </a:lnTo>
                  <a:lnTo>
                    <a:pt x="705193" y="398971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0">
              <a:extLst>
                <a:ext uri="{FF2B5EF4-FFF2-40B4-BE49-F238E27FC236}">
                  <a16:creationId xmlns:a16="http://schemas.microsoft.com/office/drawing/2014/main" id="{D699DE2F-A576-F5FD-30C6-B15ECB683013}"/>
                </a:ext>
              </a:extLst>
            </p:cNvPr>
            <p:cNvSpPr/>
            <p:nvPr/>
          </p:nvSpPr>
          <p:spPr>
            <a:xfrm>
              <a:off x="871644" y="47069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1">
              <a:extLst>
                <a:ext uri="{FF2B5EF4-FFF2-40B4-BE49-F238E27FC236}">
                  <a16:creationId xmlns:a16="http://schemas.microsoft.com/office/drawing/2014/main" id="{A02C2283-48E6-D0D2-9735-89086FC6AA87}"/>
                </a:ext>
              </a:extLst>
            </p:cNvPr>
            <p:cNvSpPr/>
            <p:nvPr/>
          </p:nvSpPr>
          <p:spPr>
            <a:xfrm>
              <a:off x="9598" y="4557616"/>
              <a:ext cx="660464" cy="2298092"/>
            </a:xfrm>
            <a:custGeom>
              <a:avLst/>
              <a:gdLst/>
              <a:ahLst/>
              <a:cxnLst/>
              <a:rect l="l" t="t" r="r" b="b"/>
              <a:pathLst>
                <a:path w="728345" h="2534284">
                  <a:moveTo>
                    <a:pt x="339378" y="1250138"/>
                  </a:moveTo>
                  <a:lnTo>
                    <a:pt x="0" y="1250138"/>
                  </a:lnTo>
                  <a:lnTo>
                    <a:pt x="0" y="1503516"/>
                  </a:lnTo>
                  <a:lnTo>
                    <a:pt x="293099" y="1503516"/>
                  </a:lnTo>
                  <a:lnTo>
                    <a:pt x="275124" y="1549292"/>
                  </a:lnTo>
                  <a:lnTo>
                    <a:pt x="255196" y="1595118"/>
                  </a:lnTo>
                  <a:lnTo>
                    <a:pt x="233381" y="1640986"/>
                  </a:lnTo>
                  <a:lnTo>
                    <a:pt x="209742" y="1686883"/>
                  </a:lnTo>
                  <a:lnTo>
                    <a:pt x="184347" y="1732802"/>
                  </a:lnTo>
                  <a:lnTo>
                    <a:pt x="157259" y="1778731"/>
                  </a:lnTo>
                  <a:lnTo>
                    <a:pt x="128545" y="1824661"/>
                  </a:lnTo>
                  <a:lnTo>
                    <a:pt x="0" y="1824661"/>
                  </a:lnTo>
                  <a:lnTo>
                    <a:pt x="0" y="2533969"/>
                  </a:lnTo>
                  <a:lnTo>
                    <a:pt x="37168" y="2533969"/>
                  </a:lnTo>
                  <a:lnTo>
                    <a:pt x="53615" y="2516081"/>
                  </a:lnTo>
                  <a:lnTo>
                    <a:pt x="88081" y="2477894"/>
                  </a:lnTo>
                  <a:lnTo>
                    <a:pt x="121975" y="2439592"/>
                  </a:lnTo>
                  <a:lnTo>
                    <a:pt x="155266" y="2401172"/>
                  </a:lnTo>
                  <a:lnTo>
                    <a:pt x="187926" y="2362631"/>
                  </a:lnTo>
                  <a:lnTo>
                    <a:pt x="219923" y="2323966"/>
                  </a:lnTo>
                  <a:lnTo>
                    <a:pt x="251229" y="2285174"/>
                  </a:lnTo>
                  <a:lnTo>
                    <a:pt x="281814" y="2246251"/>
                  </a:lnTo>
                  <a:lnTo>
                    <a:pt x="311647" y="2207195"/>
                  </a:lnTo>
                  <a:lnTo>
                    <a:pt x="340699" y="2168003"/>
                  </a:lnTo>
                  <a:lnTo>
                    <a:pt x="368940" y="2128671"/>
                  </a:lnTo>
                  <a:lnTo>
                    <a:pt x="396340" y="2089196"/>
                  </a:lnTo>
                  <a:lnTo>
                    <a:pt x="422870" y="2049575"/>
                  </a:lnTo>
                  <a:lnTo>
                    <a:pt x="448500" y="2009806"/>
                  </a:lnTo>
                  <a:lnTo>
                    <a:pt x="473199" y="1969884"/>
                  </a:lnTo>
                  <a:lnTo>
                    <a:pt x="496938" y="1929807"/>
                  </a:lnTo>
                  <a:lnTo>
                    <a:pt x="519688" y="1889572"/>
                  </a:lnTo>
                  <a:lnTo>
                    <a:pt x="541417" y="1849176"/>
                  </a:lnTo>
                  <a:lnTo>
                    <a:pt x="562098" y="1808615"/>
                  </a:lnTo>
                  <a:lnTo>
                    <a:pt x="581699" y="1767887"/>
                  </a:lnTo>
                  <a:lnTo>
                    <a:pt x="600190" y="1726988"/>
                  </a:lnTo>
                  <a:lnTo>
                    <a:pt x="617543" y="1685916"/>
                  </a:lnTo>
                  <a:lnTo>
                    <a:pt x="633727" y="1644667"/>
                  </a:lnTo>
                  <a:lnTo>
                    <a:pt x="648713" y="1603237"/>
                  </a:lnTo>
                  <a:lnTo>
                    <a:pt x="662470" y="1561625"/>
                  </a:lnTo>
                  <a:lnTo>
                    <a:pt x="674969" y="1519827"/>
                  </a:lnTo>
                  <a:lnTo>
                    <a:pt x="686180" y="1477840"/>
                  </a:lnTo>
                  <a:lnTo>
                    <a:pt x="696072" y="1435660"/>
                  </a:lnTo>
                  <a:lnTo>
                    <a:pt x="704618" y="1393285"/>
                  </a:lnTo>
                  <a:lnTo>
                    <a:pt x="711785" y="1350711"/>
                  </a:lnTo>
                  <a:lnTo>
                    <a:pt x="717546" y="1307936"/>
                  </a:lnTo>
                  <a:lnTo>
                    <a:pt x="722689" y="1252323"/>
                  </a:lnTo>
                  <a:lnTo>
                    <a:pt x="353602" y="1252323"/>
                  </a:lnTo>
                  <a:lnTo>
                    <a:pt x="346541" y="1251103"/>
                  </a:lnTo>
                  <a:lnTo>
                    <a:pt x="339378" y="1250138"/>
                  </a:lnTo>
                  <a:close/>
                </a:path>
                <a:path w="728345" h="2534284">
                  <a:moveTo>
                    <a:pt x="109487" y="0"/>
                  </a:moveTo>
                  <a:lnTo>
                    <a:pt x="63837" y="10091"/>
                  </a:lnTo>
                  <a:lnTo>
                    <a:pt x="21648" y="31783"/>
                  </a:lnTo>
                  <a:lnTo>
                    <a:pt x="37" y="51456"/>
                  </a:lnTo>
                  <a:lnTo>
                    <a:pt x="0" y="315397"/>
                  </a:lnTo>
                  <a:lnTo>
                    <a:pt x="7146" y="323343"/>
                  </a:lnTo>
                  <a:lnTo>
                    <a:pt x="15476" y="330759"/>
                  </a:lnTo>
                  <a:lnTo>
                    <a:pt x="32587" y="347051"/>
                  </a:lnTo>
                  <a:lnTo>
                    <a:pt x="86967" y="405526"/>
                  </a:lnTo>
                  <a:lnTo>
                    <a:pt x="121144" y="447339"/>
                  </a:lnTo>
                  <a:lnTo>
                    <a:pt x="157917" y="497291"/>
                  </a:lnTo>
                  <a:lnTo>
                    <a:pt x="195742" y="555196"/>
                  </a:lnTo>
                  <a:lnTo>
                    <a:pt x="233071" y="620872"/>
                  </a:lnTo>
                  <a:lnTo>
                    <a:pt x="268359" y="694132"/>
                  </a:lnTo>
                  <a:lnTo>
                    <a:pt x="0" y="694132"/>
                  </a:lnTo>
                  <a:lnTo>
                    <a:pt x="0" y="947497"/>
                  </a:lnTo>
                  <a:lnTo>
                    <a:pt x="344547" y="947497"/>
                  </a:lnTo>
                  <a:lnTo>
                    <a:pt x="351547" y="994539"/>
                  </a:lnTo>
                  <a:lnTo>
                    <a:pt x="356566" y="1043098"/>
                  </a:lnTo>
                  <a:lnTo>
                    <a:pt x="359442" y="1093166"/>
                  </a:lnTo>
                  <a:lnTo>
                    <a:pt x="360014" y="1144733"/>
                  </a:lnTo>
                  <a:lnTo>
                    <a:pt x="358121" y="1197788"/>
                  </a:lnTo>
                  <a:lnTo>
                    <a:pt x="353602" y="1252323"/>
                  </a:lnTo>
                  <a:lnTo>
                    <a:pt x="722689" y="1252323"/>
                  </a:lnTo>
                  <a:lnTo>
                    <a:pt x="724699" y="1230596"/>
                  </a:lnTo>
                  <a:lnTo>
                    <a:pt x="727870" y="1155425"/>
                  </a:lnTo>
                  <a:lnTo>
                    <a:pt x="727315" y="1082452"/>
                  </a:lnTo>
                  <a:lnTo>
                    <a:pt x="723292" y="1011702"/>
                  </a:lnTo>
                  <a:lnTo>
                    <a:pt x="716057" y="943204"/>
                  </a:lnTo>
                  <a:lnTo>
                    <a:pt x="705867" y="876984"/>
                  </a:lnTo>
                  <a:lnTo>
                    <a:pt x="692980" y="813069"/>
                  </a:lnTo>
                  <a:lnTo>
                    <a:pt x="677652" y="751487"/>
                  </a:lnTo>
                  <a:lnTo>
                    <a:pt x="660140" y="692264"/>
                  </a:lnTo>
                  <a:lnTo>
                    <a:pt x="640702" y="635429"/>
                  </a:lnTo>
                  <a:lnTo>
                    <a:pt x="619593" y="581007"/>
                  </a:lnTo>
                  <a:lnTo>
                    <a:pt x="597072" y="529026"/>
                  </a:lnTo>
                  <a:lnTo>
                    <a:pt x="573395" y="479514"/>
                  </a:lnTo>
                  <a:lnTo>
                    <a:pt x="548819" y="432497"/>
                  </a:lnTo>
                  <a:lnTo>
                    <a:pt x="523601" y="388002"/>
                  </a:lnTo>
                  <a:lnTo>
                    <a:pt x="497998" y="346057"/>
                  </a:lnTo>
                  <a:lnTo>
                    <a:pt x="472267" y="306688"/>
                  </a:lnTo>
                  <a:lnTo>
                    <a:pt x="446665" y="269924"/>
                  </a:lnTo>
                  <a:lnTo>
                    <a:pt x="421449" y="235790"/>
                  </a:lnTo>
                  <a:lnTo>
                    <a:pt x="396875" y="204314"/>
                  </a:lnTo>
                  <a:lnTo>
                    <a:pt x="350685" y="149446"/>
                  </a:lnTo>
                  <a:lnTo>
                    <a:pt x="310151" y="105535"/>
                  </a:lnTo>
                  <a:lnTo>
                    <a:pt x="277327" y="72800"/>
                  </a:lnTo>
                  <a:lnTo>
                    <a:pt x="247047" y="45123"/>
                  </a:lnTo>
                  <a:lnTo>
                    <a:pt x="201504" y="15575"/>
                  </a:lnTo>
                  <a:lnTo>
                    <a:pt x="156182" y="1748"/>
                  </a:lnTo>
                  <a:lnTo>
                    <a:pt x="10948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5" name="Picture 14" descr="A picture containing text&#10;&#10;Description automatically generated">
            <a:extLst>
              <a:ext uri="{FF2B5EF4-FFF2-40B4-BE49-F238E27FC236}">
                <a16:creationId xmlns:a16="http://schemas.microsoft.com/office/drawing/2014/main" id="{C37C2C34-85B0-9C65-6AA0-3850CBC08A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4558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74EB452A-3F34-E4BC-36A1-B9E06407DD9D}"/>
              </a:ext>
            </a:extLst>
          </p:cNvPr>
          <p:cNvSpPr/>
          <p:nvPr/>
        </p:nvSpPr>
        <p:spPr>
          <a:xfrm rot="10800000">
            <a:off x="8177366" y="3758779"/>
            <a:ext cx="3694477" cy="4834083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2691EC91-92A9-2DFD-4EDA-F8644AAFDF47}"/>
              </a:ext>
            </a:extLst>
          </p:cNvPr>
          <p:cNvSpPr/>
          <p:nvPr/>
        </p:nvSpPr>
        <p:spPr>
          <a:xfrm rot="10800000">
            <a:off x="7677415" y="6480079"/>
            <a:ext cx="765566" cy="796245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12">
            <a:extLst>
              <a:ext uri="{FF2B5EF4-FFF2-40B4-BE49-F238E27FC236}">
                <a16:creationId xmlns:a16="http://schemas.microsoft.com/office/drawing/2014/main" id="{4849155B-A9DE-EE8A-9AF8-81425A554348}"/>
              </a:ext>
            </a:extLst>
          </p:cNvPr>
          <p:cNvSpPr/>
          <p:nvPr/>
        </p:nvSpPr>
        <p:spPr>
          <a:xfrm rot="10800000">
            <a:off x="11530830" y="6395080"/>
            <a:ext cx="638498" cy="334033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E177F1D-8B04-881D-29E5-088E64B385E9}"/>
              </a:ext>
            </a:extLst>
          </p:cNvPr>
          <p:cNvGrpSpPr/>
          <p:nvPr/>
        </p:nvGrpSpPr>
        <p:grpSpPr>
          <a:xfrm>
            <a:off x="9597" y="0"/>
            <a:ext cx="4329657" cy="4281798"/>
            <a:chOff x="9597" y="0"/>
            <a:chExt cx="4329657" cy="4281798"/>
          </a:xfrm>
        </p:grpSpPr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D7A29DDB-840F-FC84-9103-E3E5B573BF40}"/>
                </a:ext>
              </a:extLst>
            </p:cNvPr>
            <p:cNvSpPr/>
            <p:nvPr/>
          </p:nvSpPr>
          <p:spPr>
            <a:xfrm>
              <a:off x="108938" y="11"/>
              <a:ext cx="3349537" cy="4281787"/>
            </a:xfrm>
            <a:custGeom>
              <a:avLst/>
              <a:gdLst/>
              <a:ahLst/>
              <a:cxnLst/>
              <a:rect l="l" t="t" r="r" b="b"/>
              <a:pathLst>
                <a:path w="3693795" h="4721860">
                  <a:moveTo>
                    <a:pt x="985329" y="60604"/>
                  </a:moveTo>
                  <a:lnTo>
                    <a:pt x="977315" y="10096"/>
                  </a:lnTo>
                  <a:lnTo>
                    <a:pt x="972172" y="0"/>
                  </a:lnTo>
                  <a:lnTo>
                    <a:pt x="684009" y="0"/>
                  </a:lnTo>
                  <a:lnTo>
                    <a:pt x="678865" y="10096"/>
                  </a:lnTo>
                  <a:lnTo>
                    <a:pt x="670852" y="60604"/>
                  </a:lnTo>
                  <a:lnTo>
                    <a:pt x="678865" y="111112"/>
                  </a:lnTo>
                  <a:lnTo>
                    <a:pt x="701192" y="154978"/>
                  </a:lnTo>
                  <a:lnTo>
                    <a:pt x="735228" y="189572"/>
                  </a:lnTo>
                  <a:lnTo>
                    <a:pt x="778395" y="212255"/>
                  </a:lnTo>
                  <a:lnTo>
                    <a:pt x="828090" y="220395"/>
                  </a:lnTo>
                  <a:lnTo>
                    <a:pt x="877785" y="212255"/>
                  </a:lnTo>
                  <a:lnTo>
                    <a:pt x="920953" y="189572"/>
                  </a:lnTo>
                  <a:lnTo>
                    <a:pt x="954989" y="154978"/>
                  </a:lnTo>
                  <a:lnTo>
                    <a:pt x="977315" y="111112"/>
                  </a:lnTo>
                  <a:lnTo>
                    <a:pt x="985329" y="60604"/>
                  </a:lnTo>
                  <a:close/>
                </a:path>
                <a:path w="3693795" h="4721860">
                  <a:moveTo>
                    <a:pt x="1194587" y="628446"/>
                  </a:moveTo>
                  <a:lnTo>
                    <a:pt x="1189532" y="583895"/>
                  </a:lnTo>
                  <a:lnTo>
                    <a:pt x="1175143" y="543001"/>
                  </a:lnTo>
                  <a:lnTo>
                    <a:pt x="1152575" y="506920"/>
                  </a:lnTo>
                  <a:lnTo>
                    <a:pt x="1122972" y="476821"/>
                  </a:lnTo>
                  <a:lnTo>
                    <a:pt x="1087462" y="453885"/>
                  </a:lnTo>
                  <a:lnTo>
                    <a:pt x="1047229" y="439267"/>
                  </a:lnTo>
                  <a:lnTo>
                    <a:pt x="1003388" y="434136"/>
                  </a:lnTo>
                  <a:lnTo>
                    <a:pt x="959548" y="439267"/>
                  </a:lnTo>
                  <a:lnTo>
                    <a:pt x="919302" y="453885"/>
                  </a:lnTo>
                  <a:lnTo>
                    <a:pt x="883805" y="476821"/>
                  </a:lnTo>
                  <a:lnTo>
                    <a:pt x="854189" y="506920"/>
                  </a:lnTo>
                  <a:lnTo>
                    <a:pt x="831621" y="543001"/>
                  </a:lnTo>
                  <a:lnTo>
                    <a:pt x="817232" y="583895"/>
                  </a:lnTo>
                  <a:lnTo>
                    <a:pt x="812190" y="628446"/>
                  </a:lnTo>
                  <a:lnTo>
                    <a:pt x="817232" y="672998"/>
                  </a:lnTo>
                  <a:lnTo>
                    <a:pt x="831621" y="713905"/>
                  </a:lnTo>
                  <a:lnTo>
                    <a:pt x="854189" y="749973"/>
                  </a:lnTo>
                  <a:lnTo>
                    <a:pt x="883805" y="780072"/>
                  </a:lnTo>
                  <a:lnTo>
                    <a:pt x="919302" y="803008"/>
                  </a:lnTo>
                  <a:lnTo>
                    <a:pt x="959548" y="817626"/>
                  </a:lnTo>
                  <a:lnTo>
                    <a:pt x="1003388" y="822756"/>
                  </a:lnTo>
                  <a:lnTo>
                    <a:pt x="1047229" y="817626"/>
                  </a:lnTo>
                  <a:lnTo>
                    <a:pt x="1087462" y="803008"/>
                  </a:lnTo>
                  <a:lnTo>
                    <a:pt x="1122972" y="780072"/>
                  </a:lnTo>
                  <a:lnTo>
                    <a:pt x="1152575" y="749973"/>
                  </a:lnTo>
                  <a:lnTo>
                    <a:pt x="1175143" y="713905"/>
                  </a:lnTo>
                  <a:lnTo>
                    <a:pt x="1189532" y="672998"/>
                  </a:lnTo>
                  <a:lnTo>
                    <a:pt x="1194587" y="628446"/>
                  </a:lnTo>
                  <a:close/>
                </a:path>
                <a:path w="3693795" h="4721860">
                  <a:moveTo>
                    <a:pt x="2110397" y="2736418"/>
                  </a:moveTo>
                  <a:lnTo>
                    <a:pt x="2105355" y="2691866"/>
                  </a:lnTo>
                  <a:lnTo>
                    <a:pt x="2090966" y="2650960"/>
                  </a:lnTo>
                  <a:lnTo>
                    <a:pt x="2068398" y="2614892"/>
                  </a:lnTo>
                  <a:lnTo>
                    <a:pt x="2038781" y="2584793"/>
                  </a:lnTo>
                  <a:lnTo>
                    <a:pt x="2003285" y="2561856"/>
                  </a:lnTo>
                  <a:lnTo>
                    <a:pt x="1963039" y="2547239"/>
                  </a:lnTo>
                  <a:lnTo>
                    <a:pt x="1919198" y="2542108"/>
                  </a:lnTo>
                  <a:lnTo>
                    <a:pt x="1875358" y="2547239"/>
                  </a:lnTo>
                  <a:lnTo>
                    <a:pt x="1835111" y="2561856"/>
                  </a:lnTo>
                  <a:lnTo>
                    <a:pt x="1799615" y="2584793"/>
                  </a:lnTo>
                  <a:lnTo>
                    <a:pt x="1770011" y="2614892"/>
                  </a:lnTo>
                  <a:lnTo>
                    <a:pt x="1747431" y="2650960"/>
                  </a:lnTo>
                  <a:lnTo>
                    <a:pt x="1733054" y="2691866"/>
                  </a:lnTo>
                  <a:lnTo>
                    <a:pt x="1728000" y="2736418"/>
                  </a:lnTo>
                  <a:lnTo>
                    <a:pt x="1733054" y="2780969"/>
                  </a:lnTo>
                  <a:lnTo>
                    <a:pt x="1747431" y="2821863"/>
                  </a:lnTo>
                  <a:lnTo>
                    <a:pt x="1770011" y="2857944"/>
                  </a:lnTo>
                  <a:lnTo>
                    <a:pt x="1799615" y="2888043"/>
                  </a:lnTo>
                  <a:lnTo>
                    <a:pt x="1835111" y="2910979"/>
                  </a:lnTo>
                  <a:lnTo>
                    <a:pt x="1875358" y="2925597"/>
                  </a:lnTo>
                  <a:lnTo>
                    <a:pt x="1919198" y="2930728"/>
                  </a:lnTo>
                  <a:lnTo>
                    <a:pt x="1963039" y="2925597"/>
                  </a:lnTo>
                  <a:lnTo>
                    <a:pt x="2003285" y="2910979"/>
                  </a:lnTo>
                  <a:lnTo>
                    <a:pt x="2038781" y="2888043"/>
                  </a:lnTo>
                  <a:lnTo>
                    <a:pt x="2068398" y="2857944"/>
                  </a:lnTo>
                  <a:lnTo>
                    <a:pt x="2090966" y="2821863"/>
                  </a:lnTo>
                  <a:lnTo>
                    <a:pt x="2105355" y="2780969"/>
                  </a:lnTo>
                  <a:lnTo>
                    <a:pt x="2110397" y="2736418"/>
                  </a:lnTo>
                  <a:close/>
                </a:path>
                <a:path w="3693795" h="4721860">
                  <a:moveTo>
                    <a:pt x="2315591" y="3313163"/>
                  </a:moveTo>
                  <a:lnTo>
                    <a:pt x="2310536" y="3268611"/>
                  </a:lnTo>
                  <a:lnTo>
                    <a:pt x="2296160" y="3227717"/>
                  </a:lnTo>
                  <a:lnTo>
                    <a:pt x="2273592" y="3191637"/>
                  </a:lnTo>
                  <a:lnTo>
                    <a:pt x="2243975" y="3161538"/>
                  </a:lnTo>
                  <a:lnTo>
                    <a:pt x="2208479" y="3138601"/>
                  </a:lnTo>
                  <a:lnTo>
                    <a:pt x="2168233" y="3123984"/>
                  </a:lnTo>
                  <a:lnTo>
                    <a:pt x="2124392" y="3118853"/>
                  </a:lnTo>
                  <a:lnTo>
                    <a:pt x="2080552" y="3123984"/>
                  </a:lnTo>
                  <a:lnTo>
                    <a:pt x="2040305" y="3138601"/>
                  </a:lnTo>
                  <a:lnTo>
                    <a:pt x="2004809" y="3161538"/>
                  </a:lnTo>
                  <a:lnTo>
                    <a:pt x="1975192" y="3191637"/>
                  </a:lnTo>
                  <a:lnTo>
                    <a:pt x="1952625" y="3227717"/>
                  </a:lnTo>
                  <a:lnTo>
                    <a:pt x="1938235" y="3268611"/>
                  </a:lnTo>
                  <a:lnTo>
                    <a:pt x="1933194" y="3313163"/>
                  </a:lnTo>
                  <a:lnTo>
                    <a:pt x="1938235" y="3357715"/>
                  </a:lnTo>
                  <a:lnTo>
                    <a:pt x="1952625" y="3398621"/>
                  </a:lnTo>
                  <a:lnTo>
                    <a:pt x="1975192" y="3434689"/>
                  </a:lnTo>
                  <a:lnTo>
                    <a:pt x="2004809" y="3464788"/>
                  </a:lnTo>
                  <a:lnTo>
                    <a:pt x="2040305" y="3487724"/>
                  </a:lnTo>
                  <a:lnTo>
                    <a:pt x="2080552" y="3502342"/>
                  </a:lnTo>
                  <a:lnTo>
                    <a:pt x="2124392" y="3507473"/>
                  </a:lnTo>
                  <a:lnTo>
                    <a:pt x="2168233" y="3502342"/>
                  </a:lnTo>
                  <a:lnTo>
                    <a:pt x="2208479" y="3487724"/>
                  </a:lnTo>
                  <a:lnTo>
                    <a:pt x="2243975" y="3464788"/>
                  </a:lnTo>
                  <a:lnTo>
                    <a:pt x="2273592" y="3434689"/>
                  </a:lnTo>
                  <a:lnTo>
                    <a:pt x="2296160" y="3398621"/>
                  </a:lnTo>
                  <a:lnTo>
                    <a:pt x="2310536" y="3357715"/>
                  </a:lnTo>
                  <a:lnTo>
                    <a:pt x="2315591" y="3313163"/>
                  </a:lnTo>
                  <a:close/>
                </a:path>
                <a:path w="3693795" h="4721860">
                  <a:moveTo>
                    <a:pt x="2551633" y="1956752"/>
                  </a:moveTo>
                  <a:lnTo>
                    <a:pt x="2547645" y="1911578"/>
                  </a:lnTo>
                  <a:lnTo>
                    <a:pt x="2536164" y="1869046"/>
                  </a:lnTo>
                  <a:lnTo>
                    <a:pt x="2517864" y="1829892"/>
                  </a:lnTo>
                  <a:lnTo>
                    <a:pt x="2493467" y="1794814"/>
                  </a:lnTo>
                  <a:lnTo>
                    <a:pt x="2463660" y="1764525"/>
                  </a:lnTo>
                  <a:lnTo>
                    <a:pt x="2429141" y="1739722"/>
                  </a:lnTo>
                  <a:lnTo>
                    <a:pt x="2390610" y="1721129"/>
                  </a:lnTo>
                  <a:lnTo>
                    <a:pt x="2348776" y="1709458"/>
                  </a:lnTo>
                  <a:lnTo>
                    <a:pt x="2304313" y="1705406"/>
                  </a:lnTo>
                  <a:lnTo>
                    <a:pt x="2259863" y="1709458"/>
                  </a:lnTo>
                  <a:lnTo>
                    <a:pt x="2218017" y="1721129"/>
                  </a:lnTo>
                  <a:lnTo>
                    <a:pt x="2179485" y="1739722"/>
                  </a:lnTo>
                  <a:lnTo>
                    <a:pt x="2144966" y="1764525"/>
                  </a:lnTo>
                  <a:lnTo>
                    <a:pt x="2115159" y="1794814"/>
                  </a:lnTo>
                  <a:lnTo>
                    <a:pt x="2090762" y="1829892"/>
                  </a:lnTo>
                  <a:lnTo>
                    <a:pt x="2072474" y="1869046"/>
                  </a:lnTo>
                  <a:lnTo>
                    <a:pt x="2060981" y="1911578"/>
                  </a:lnTo>
                  <a:lnTo>
                    <a:pt x="2056993" y="1956752"/>
                  </a:lnTo>
                  <a:lnTo>
                    <a:pt x="2060981" y="2001926"/>
                  </a:lnTo>
                  <a:lnTo>
                    <a:pt x="2072474" y="2044458"/>
                  </a:lnTo>
                  <a:lnTo>
                    <a:pt x="2090762" y="2083612"/>
                  </a:lnTo>
                  <a:lnTo>
                    <a:pt x="2115159" y="2118690"/>
                  </a:lnTo>
                  <a:lnTo>
                    <a:pt x="2144966" y="2148979"/>
                  </a:lnTo>
                  <a:lnTo>
                    <a:pt x="2179485" y="2173782"/>
                  </a:lnTo>
                  <a:lnTo>
                    <a:pt x="2218017" y="2192375"/>
                  </a:lnTo>
                  <a:lnTo>
                    <a:pt x="2259863" y="2204047"/>
                  </a:lnTo>
                  <a:lnTo>
                    <a:pt x="2304313" y="2208098"/>
                  </a:lnTo>
                  <a:lnTo>
                    <a:pt x="2348776" y="2204047"/>
                  </a:lnTo>
                  <a:lnTo>
                    <a:pt x="2390610" y="2192375"/>
                  </a:lnTo>
                  <a:lnTo>
                    <a:pt x="2429141" y="2173782"/>
                  </a:lnTo>
                  <a:lnTo>
                    <a:pt x="2463660" y="2148979"/>
                  </a:lnTo>
                  <a:lnTo>
                    <a:pt x="2493467" y="2118690"/>
                  </a:lnTo>
                  <a:lnTo>
                    <a:pt x="2517864" y="2083612"/>
                  </a:lnTo>
                  <a:lnTo>
                    <a:pt x="2536164" y="2044458"/>
                  </a:lnTo>
                  <a:lnTo>
                    <a:pt x="2547645" y="2001926"/>
                  </a:lnTo>
                  <a:lnTo>
                    <a:pt x="2551633" y="1956752"/>
                  </a:lnTo>
                  <a:close/>
                </a:path>
                <a:path w="3693795" h="4721860">
                  <a:moveTo>
                    <a:pt x="2845346" y="10020"/>
                  </a:moveTo>
                  <a:lnTo>
                    <a:pt x="1323581" y="10020"/>
                  </a:lnTo>
                  <a:lnTo>
                    <a:pt x="1314577" y="48120"/>
                  </a:lnTo>
                  <a:lnTo>
                    <a:pt x="1324521" y="98920"/>
                  </a:lnTo>
                  <a:lnTo>
                    <a:pt x="1351661" y="137020"/>
                  </a:lnTo>
                  <a:lnTo>
                    <a:pt x="1391920" y="162420"/>
                  </a:lnTo>
                  <a:lnTo>
                    <a:pt x="1441234" y="175120"/>
                  </a:lnTo>
                  <a:lnTo>
                    <a:pt x="2424163" y="175120"/>
                  </a:lnTo>
                  <a:lnTo>
                    <a:pt x="2406192" y="225920"/>
                  </a:lnTo>
                  <a:lnTo>
                    <a:pt x="2386253" y="264020"/>
                  </a:lnTo>
                  <a:lnTo>
                    <a:pt x="2364435" y="314820"/>
                  </a:lnTo>
                  <a:lnTo>
                    <a:pt x="2340800" y="365620"/>
                  </a:lnTo>
                  <a:lnTo>
                    <a:pt x="2315400" y="403720"/>
                  </a:lnTo>
                  <a:lnTo>
                    <a:pt x="2288298" y="454520"/>
                  </a:lnTo>
                  <a:lnTo>
                    <a:pt x="2259584" y="492620"/>
                  </a:lnTo>
                  <a:lnTo>
                    <a:pt x="1496834" y="492620"/>
                  </a:lnTo>
                  <a:lnTo>
                    <a:pt x="1447520" y="505320"/>
                  </a:lnTo>
                  <a:lnTo>
                    <a:pt x="1407261" y="530720"/>
                  </a:lnTo>
                  <a:lnTo>
                    <a:pt x="1380121" y="581520"/>
                  </a:lnTo>
                  <a:lnTo>
                    <a:pt x="1370177" y="619620"/>
                  </a:lnTo>
                  <a:lnTo>
                    <a:pt x="1380121" y="670420"/>
                  </a:lnTo>
                  <a:lnTo>
                    <a:pt x="1407261" y="721220"/>
                  </a:lnTo>
                  <a:lnTo>
                    <a:pt x="1447520" y="746620"/>
                  </a:lnTo>
                  <a:lnTo>
                    <a:pt x="2074989" y="746620"/>
                  </a:lnTo>
                  <a:lnTo>
                    <a:pt x="2044115" y="784720"/>
                  </a:lnTo>
                  <a:lnTo>
                    <a:pt x="2012492" y="822820"/>
                  </a:lnTo>
                  <a:lnTo>
                    <a:pt x="1980171" y="860920"/>
                  </a:lnTo>
                  <a:lnTo>
                    <a:pt x="1947189" y="899020"/>
                  </a:lnTo>
                  <a:lnTo>
                    <a:pt x="1913585" y="937120"/>
                  </a:lnTo>
                  <a:lnTo>
                    <a:pt x="1879396" y="975220"/>
                  </a:lnTo>
                  <a:lnTo>
                    <a:pt x="1844662" y="1013320"/>
                  </a:lnTo>
                  <a:lnTo>
                    <a:pt x="1809432" y="1051420"/>
                  </a:lnTo>
                  <a:lnTo>
                    <a:pt x="1773732" y="1089520"/>
                  </a:lnTo>
                  <a:lnTo>
                    <a:pt x="1737614" y="1127620"/>
                  </a:lnTo>
                  <a:lnTo>
                    <a:pt x="1701114" y="1165720"/>
                  </a:lnTo>
                  <a:lnTo>
                    <a:pt x="1627111" y="1241920"/>
                  </a:lnTo>
                  <a:lnTo>
                    <a:pt x="1589697" y="1267320"/>
                  </a:lnTo>
                  <a:lnTo>
                    <a:pt x="1400073" y="1457820"/>
                  </a:lnTo>
                  <a:lnTo>
                    <a:pt x="1361909" y="1483220"/>
                  </a:lnTo>
                  <a:lnTo>
                    <a:pt x="1247686" y="1597520"/>
                  </a:lnTo>
                  <a:lnTo>
                    <a:pt x="1128903" y="1699120"/>
                  </a:lnTo>
                  <a:lnTo>
                    <a:pt x="1085837" y="1749920"/>
                  </a:lnTo>
                  <a:lnTo>
                    <a:pt x="958227" y="1864220"/>
                  </a:lnTo>
                  <a:lnTo>
                    <a:pt x="874915" y="1940420"/>
                  </a:lnTo>
                  <a:lnTo>
                    <a:pt x="833920" y="1978520"/>
                  </a:lnTo>
                  <a:lnTo>
                    <a:pt x="793445" y="2016620"/>
                  </a:lnTo>
                  <a:lnTo>
                    <a:pt x="753503" y="2054720"/>
                  </a:lnTo>
                  <a:lnTo>
                    <a:pt x="714159" y="2092820"/>
                  </a:lnTo>
                  <a:lnTo>
                    <a:pt x="675462" y="2130920"/>
                  </a:lnTo>
                  <a:lnTo>
                    <a:pt x="637451" y="2169020"/>
                  </a:lnTo>
                  <a:lnTo>
                    <a:pt x="600176" y="2207120"/>
                  </a:lnTo>
                  <a:lnTo>
                    <a:pt x="563664" y="2245220"/>
                  </a:lnTo>
                  <a:lnTo>
                    <a:pt x="527977" y="2283320"/>
                  </a:lnTo>
                  <a:lnTo>
                    <a:pt x="493166" y="2321420"/>
                  </a:lnTo>
                  <a:lnTo>
                    <a:pt x="459270" y="2359520"/>
                  </a:lnTo>
                  <a:lnTo>
                    <a:pt x="426326" y="2397620"/>
                  </a:lnTo>
                  <a:lnTo>
                    <a:pt x="394373" y="2435720"/>
                  </a:lnTo>
                  <a:lnTo>
                    <a:pt x="363486" y="2473820"/>
                  </a:lnTo>
                  <a:lnTo>
                    <a:pt x="333692" y="2511920"/>
                  </a:lnTo>
                  <a:lnTo>
                    <a:pt x="305028" y="2550020"/>
                  </a:lnTo>
                  <a:lnTo>
                    <a:pt x="277558" y="2588120"/>
                  </a:lnTo>
                  <a:lnTo>
                    <a:pt x="251320" y="2626220"/>
                  </a:lnTo>
                  <a:lnTo>
                    <a:pt x="226352" y="2664320"/>
                  </a:lnTo>
                  <a:lnTo>
                    <a:pt x="202704" y="2702420"/>
                  </a:lnTo>
                  <a:lnTo>
                    <a:pt x="180428" y="2740520"/>
                  </a:lnTo>
                  <a:lnTo>
                    <a:pt x="159562" y="2778620"/>
                  </a:lnTo>
                  <a:lnTo>
                    <a:pt x="140144" y="2816720"/>
                  </a:lnTo>
                  <a:lnTo>
                    <a:pt x="122237" y="2854820"/>
                  </a:lnTo>
                  <a:lnTo>
                    <a:pt x="105879" y="2892920"/>
                  </a:lnTo>
                  <a:lnTo>
                    <a:pt x="91122" y="2931020"/>
                  </a:lnTo>
                  <a:lnTo>
                    <a:pt x="77990" y="2956420"/>
                  </a:lnTo>
                  <a:lnTo>
                    <a:pt x="56781" y="3032620"/>
                  </a:lnTo>
                  <a:lnTo>
                    <a:pt x="39179" y="3096120"/>
                  </a:lnTo>
                  <a:lnTo>
                    <a:pt x="25031" y="3159620"/>
                  </a:lnTo>
                  <a:lnTo>
                    <a:pt x="14198" y="3235820"/>
                  </a:lnTo>
                  <a:lnTo>
                    <a:pt x="6502" y="3299320"/>
                  </a:lnTo>
                  <a:lnTo>
                    <a:pt x="1828" y="3362820"/>
                  </a:lnTo>
                  <a:lnTo>
                    <a:pt x="0" y="3426320"/>
                  </a:lnTo>
                  <a:lnTo>
                    <a:pt x="863" y="3489820"/>
                  </a:lnTo>
                  <a:lnTo>
                    <a:pt x="4305" y="3540620"/>
                  </a:lnTo>
                  <a:lnTo>
                    <a:pt x="10134" y="3604120"/>
                  </a:lnTo>
                  <a:lnTo>
                    <a:pt x="18224" y="3667620"/>
                  </a:lnTo>
                  <a:lnTo>
                    <a:pt x="28422" y="3718420"/>
                  </a:lnTo>
                  <a:lnTo>
                    <a:pt x="40576" y="3781920"/>
                  </a:lnTo>
                  <a:lnTo>
                    <a:pt x="54521" y="3832720"/>
                  </a:lnTo>
                  <a:lnTo>
                    <a:pt x="70142" y="3883520"/>
                  </a:lnTo>
                  <a:lnTo>
                    <a:pt x="87249" y="3934320"/>
                  </a:lnTo>
                  <a:lnTo>
                    <a:pt x="105727" y="3985120"/>
                  </a:lnTo>
                  <a:lnTo>
                    <a:pt x="125399" y="4035920"/>
                  </a:lnTo>
                  <a:lnTo>
                    <a:pt x="146138" y="4086720"/>
                  </a:lnTo>
                  <a:lnTo>
                    <a:pt x="167767" y="4124820"/>
                  </a:lnTo>
                  <a:lnTo>
                    <a:pt x="190169" y="4175620"/>
                  </a:lnTo>
                  <a:lnTo>
                    <a:pt x="213169" y="4213720"/>
                  </a:lnTo>
                  <a:lnTo>
                    <a:pt x="236613" y="4251820"/>
                  </a:lnTo>
                  <a:lnTo>
                    <a:pt x="260375" y="4302620"/>
                  </a:lnTo>
                  <a:lnTo>
                    <a:pt x="284302" y="4340720"/>
                  </a:lnTo>
                  <a:lnTo>
                    <a:pt x="308216" y="4366120"/>
                  </a:lnTo>
                  <a:lnTo>
                    <a:pt x="332003" y="4404220"/>
                  </a:lnTo>
                  <a:lnTo>
                    <a:pt x="355485" y="4442320"/>
                  </a:lnTo>
                  <a:lnTo>
                    <a:pt x="378536" y="4467720"/>
                  </a:lnTo>
                  <a:lnTo>
                    <a:pt x="400977" y="4493120"/>
                  </a:lnTo>
                  <a:lnTo>
                    <a:pt x="422681" y="4518520"/>
                  </a:lnTo>
                  <a:lnTo>
                    <a:pt x="443496" y="4543920"/>
                  </a:lnTo>
                  <a:lnTo>
                    <a:pt x="463270" y="4569320"/>
                  </a:lnTo>
                  <a:lnTo>
                    <a:pt x="481838" y="4594720"/>
                  </a:lnTo>
                  <a:lnTo>
                    <a:pt x="499071" y="4607420"/>
                  </a:lnTo>
                  <a:lnTo>
                    <a:pt x="514807" y="4632820"/>
                  </a:lnTo>
                  <a:lnTo>
                    <a:pt x="528904" y="4645520"/>
                  </a:lnTo>
                  <a:lnTo>
                    <a:pt x="541210" y="4658220"/>
                  </a:lnTo>
                  <a:lnTo>
                    <a:pt x="551573" y="4658220"/>
                  </a:lnTo>
                  <a:lnTo>
                    <a:pt x="559841" y="4670920"/>
                  </a:lnTo>
                  <a:lnTo>
                    <a:pt x="565861" y="4683620"/>
                  </a:lnTo>
                  <a:lnTo>
                    <a:pt x="569493" y="4683620"/>
                  </a:lnTo>
                  <a:lnTo>
                    <a:pt x="597319" y="4696320"/>
                  </a:lnTo>
                  <a:lnTo>
                    <a:pt x="627621" y="4721720"/>
                  </a:lnTo>
                  <a:lnTo>
                    <a:pt x="729513" y="4721720"/>
                  </a:lnTo>
                  <a:lnTo>
                    <a:pt x="765454" y="4709020"/>
                  </a:lnTo>
                  <a:lnTo>
                    <a:pt x="828370" y="4670920"/>
                  </a:lnTo>
                  <a:lnTo>
                    <a:pt x="856284" y="4632820"/>
                  </a:lnTo>
                  <a:lnTo>
                    <a:pt x="872045" y="4582020"/>
                  </a:lnTo>
                  <a:lnTo>
                    <a:pt x="875779" y="4531220"/>
                  </a:lnTo>
                  <a:lnTo>
                    <a:pt x="867625" y="4493120"/>
                  </a:lnTo>
                  <a:lnTo>
                    <a:pt x="847686" y="4442320"/>
                  </a:lnTo>
                  <a:lnTo>
                    <a:pt x="816102" y="4404220"/>
                  </a:lnTo>
                  <a:lnTo>
                    <a:pt x="807847" y="4404220"/>
                  </a:lnTo>
                  <a:lnTo>
                    <a:pt x="791743" y="4378820"/>
                  </a:lnTo>
                  <a:lnTo>
                    <a:pt x="768921" y="4366120"/>
                  </a:lnTo>
                  <a:lnTo>
                    <a:pt x="740473" y="4328020"/>
                  </a:lnTo>
                  <a:lnTo>
                    <a:pt x="707555" y="4289920"/>
                  </a:lnTo>
                  <a:lnTo>
                    <a:pt x="671258" y="4251820"/>
                  </a:lnTo>
                  <a:lnTo>
                    <a:pt x="632701" y="4201020"/>
                  </a:lnTo>
                  <a:lnTo>
                    <a:pt x="553326" y="4074020"/>
                  </a:lnTo>
                  <a:lnTo>
                    <a:pt x="514731" y="3997820"/>
                  </a:lnTo>
                  <a:lnTo>
                    <a:pt x="1159827" y="3997820"/>
                  </a:lnTo>
                  <a:lnTo>
                    <a:pt x="1200086" y="3959720"/>
                  </a:lnTo>
                  <a:lnTo>
                    <a:pt x="1227226" y="3921620"/>
                  </a:lnTo>
                  <a:lnTo>
                    <a:pt x="1237170" y="3870820"/>
                  </a:lnTo>
                  <a:lnTo>
                    <a:pt x="1227226" y="3820020"/>
                  </a:lnTo>
                  <a:lnTo>
                    <a:pt x="1200086" y="3781920"/>
                  </a:lnTo>
                  <a:lnTo>
                    <a:pt x="1159827" y="3756520"/>
                  </a:lnTo>
                  <a:lnTo>
                    <a:pt x="1110513" y="3743820"/>
                  </a:lnTo>
                  <a:lnTo>
                    <a:pt x="413499" y="3743820"/>
                  </a:lnTo>
                  <a:lnTo>
                    <a:pt x="401281" y="3705720"/>
                  </a:lnTo>
                  <a:lnTo>
                    <a:pt x="390766" y="3654920"/>
                  </a:lnTo>
                  <a:lnTo>
                    <a:pt x="382104" y="3604120"/>
                  </a:lnTo>
                  <a:lnTo>
                    <a:pt x="375450" y="3553320"/>
                  </a:lnTo>
                  <a:lnTo>
                    <a:pt x="370941" y="3502520"/>
                  </a:lnTo>
                  <a:lnTo>
                    <a:pt x="368731" y="3451720"/>
                  </a:lnTo>
                  <a:lnTo>
                    <a:pt x="1493862" y="3451720"/>
                  </a:lnTo>
                  <a:lnTo>
                    <a:pt x="1543177" y="3439020"/>
                  </a:lnTo>
                  <a:lnTo>
                    <a:pt x="1583436" y="3413620"/>
                  </a:lnTo>
                  <a:lnTo>
                    <a:pt x="1610575" y="3375520"/>
                  </a:lnTo>
                  <a:lnTo>
                    <a:pt x="1620520" y="3324720"/>
                  </a:lnTo>
                  <a:lnTo>
                    <a:pt x="1610575" y="3273920"/>
                  </a:lnTo>
                  <a:lnTo>
                    <a:pt x="1583436" y="3235820"/>
                  </a:lnTo>
                  <a:lnTo>
                    <a:pt x="1543177" y="3210420"/>
                  </a:lnTo>
                  <a:lnTo>
                    <a:pt x="1493862" y="3197720"/>
                  </a:lnTo>
                  <a:lnTo>
                    <a:pt x="393382" y="3197720"/>
                  </a:lnTo>
                  <a:lnTo>
                    <a:pt x="400278" y="3172320"/>
                  </a:lnTo>
                  <a:lnTo>
                    <a:pt x="408038" y="3134220"/>
                  </a:lnTo>
                  <a:lnTo>
                    <a:pt x="416763" y="3108820"/>
                  </a:lnTo>
                  <a:lnTo>
                    <a:pt x="426529" y="3083420"/>
                  </a:lnTo>
                  <a:lnTo>
                    <a:pt x="441350" y="3032620"/>
                  </a:lnTo>
                  <a:lnTo>
                    <a:pt x="459257" y="2994520"/>
                  </a:lnTo>
                  <a:lnTo>
                    <a:pt x="480085" y="2956420"/>
                  </a:lnTo>
                  <a:lnTo>
                    <a:pt x="503656" y="2918320"/>
                  </a:lnTo>
                  <a:lnTo>
                    <a:pt x="529818" y="2867520"/>
                  </a:lnTo>
                  <a:lnTo>
                    <a:pt x="1442580" y="2867520"/>
                  </a:lnTo>
                  <a:lnTo>
                    <a:pt x="1482839" y="2829420"/>
                  </a:lnTo>
                  <a:lnTo>
                    <a:pt x="1509979" y="2791320"/>
                  </a:lnTo>
                  <a:lnTo>
                    <a:pt x="1519923" y="2740520"/>
                  </a:lnTo>
                  <a:lnTo>
                    <a:pt x="1509979" y="2702420"/>
                  </a:lnTo>
                  <a:lnTo>
                    <a:pt x="1482839" y="2651620"/>
                  </a:lnTo>
                  <a:lnTo>
                    <a:pt x="1442580" y="2626220"/>
                  </a:lnTo>
                  <a:lnTo>
                    <a:pt x="1393266" y="2613520"/>
                  </a:lnTo>
                  <a:lnTo>
                    <a:pt x="723988" y="2613520"/>
                  </a:lnTo>
                  <a:lnTo>
                    <a:pt x="754214" y="2588120"/>
                  </a:lnTo>
                  <a:lnTo>
                    <a:pt x="785418" y="2550020"/>
                  </a:lnTo>
                  <a:lnTo>
                    <a:pt x="817549" y="2511920"/>
                  </a:lnTo>
                  <a:lnTo>
                    <a:pt x="850595" y="2486520"/>
                  </a:lnTo>
                  <a:lnTo>
                    <a:pt x="884466" y="2448420"/>
                  </a:lnTo>
                  <a:lnTo>
                    <a:pt x="919149" y="2410320"/>
                  </a:lnTo>
                  <a:lnTo>
                    <a:pt x="954570" y="2372220"/>
                  </a:lnTo>
                  <a:lnTo>
                    <a:pt x="990701" y="2334120"/>
                  </a:lnTo>
                  <a:lnTo>
                    <a:pt x="1027493" y="2308720"/>
                  </a:lnTo>
                  <a:lnTo>
                    <a:pt x="1064895" y="2270620"/>
                  </a:lnTo>
                  <a:lnTo>
                    <a:pt x="1102842" y="2232520"/>
                  </a:lnTo>
                  <a:lnTo>
                    <a:pt x="1141323" y="2194420"/>
                  </a:lnTo>
                  <a:lnTo>
                    <a:pt x="1180261" y="2156320"/>
                  </a:lnTo>
                  <a:lnTo>
                    <a:pt x="1259370" y="2080120"/>
                  </a:lnTo>
                  <a:lnTo>
                    <a:pt x="1339773" y="2003920"/>
                  </a:lnTo>
                  <a:lnTo>
                    <a:pt x="1380350" y="1978520"/>
                  </a:lnTo>
                  <a:lnTo>
                    <a:pt x="1460766" y="1902320"/>
                  </a:lnTo>
                  <a:lnTo>
                    <a:pt x="1737309" y="1635620"/>
                  </a:lnTo>
                  <a:lnTo>
                    <a:pt x="1776310" y="1597520"/>
                  </a:lnTo>
                  <a:lnTo>
                    <a:pt x="1815109" y="1572120"/>
                  </a:lnTo>
                  <a:lnTo>
                    <a:pt x="1891931" y="1495920"/>
                  </a:lnTo>
                  <a:lnTo>
                    <a:pt x="1967534" y="1419720"/>
                  </a:lnTo>
                  <a:lnTo>
                    <a:pt x="2004809" y="1381620"/>
                  </a:lnTo>
                  <a:lnTo>
                    <a:pt x="2041690" y="1343520"/>
                  </a:lnTo>
                  <a:lnTo>
                    <a:pt x="2078139" y="1305420"/>
                  </a:lnTo>
                  <a:lnTo>
                    <a:pt x="2114143" y="1267320"/>
                  </a:lnTo>
                  <a:lnTo>
                    <a:pt x="2149665" y="1229220"/>
                  </a:lnTo>
                  <a:lnTo>
                    <a:pt x="2184679" y="1191120"/>
                  </a:lnTo>
                  <a:lnTo>
                    <a:pt x="2219147" y="1153020"/>
                  </a:lnTo>
                  <a:lnTo>
                    <a:pt x="2253030" y="1114920"/>
                  </a:lnTo>
                  <a:lnTo>
                    <a:pt x="2286330" y="1076820"/>
                  </a:lnTo>
                  <a:lnTo>
                    <a:pt x="2318982" y="1038720"/>
                  </a:lnTo>
                  <a:lnTo>
                    <a:pt x="2350986" y="1000620"/>
                  </a:lnTo>
                  <a:lnTo>
                    <a:pt x="2382291" y="962520"/>
                  </a:lnTo>
                  <a:lnTo>
                    <a:pt x="2412873" y="924420"/>
                  </a:lnTo>
                  <a:lnTo>
                    <a:pt x="2442705" y="886320"/>
                  </a:lnTo>
                  <a:lnTo>
                    <a:pt x="2471763" y="848220"/>
                  </a:lnTo>
                  <a:lnTo>
                    <a:pt x="2499995" y="797420"/>
                  </a:lnTo>
                  <a:lnTo>
                    <a:pt x="2527401" y="759320"/>
                  </a:lnTo>
                  <a:lnTo>
                    <a:pt x="2553932" y="721220"/>
                  </a:lnTo>
                  <a:lnTo>
                    <a:pt x="2579560" y="683120"/>
                  </a:lnTo>
                  <a:lnTo>
                    <a:pt x="2604262" y="645020"/>
                  </a:lnTo>
                  <a:lnTo>
                    <a:pt x="2627998" y="606920"/>
                  </a:lnTo>
                  <a:lnTo>
                    <a:pt x="2650744" y="568820"/>
                  </a:lnTo>
                  <a:lnTo>
                    <a:pt x="2672473" y="518020"/>
                  </a:lnTo>
                  <a:lnTo>
                    <a:pt x="2693162" y="479920"/>
                  </a:lnTo>
                  <a:lnTo>
                    <a:pt x="2712758" y="441820"/>
                  </a:lnTo>
                  <a:lnTo>
                    <a:pt x="2731249" y="403720"/>
                  </a:lnTo>
                  <a:lnTo>
                    <a:pt x="2748610" y="365620"/>
                  </a:lnTo>
                  <a:lnTo>
                    <a:pt x="2764790" y="314820"/>
                  </a:lnTo>
                  <a:lnTo>
                    <a:pt x="2779776" y="276720"/>
                  </a:lnTo>
                  <a:lnTo>
                    <a:pt x="2793530" y="238620"/>
                  </a:lnTo>
                  <a:lnTo>
                    <a:pt x="2806039" y="187820"/>
                  </a:lnTo>
                  <a:lnTo>
                    <a:pt x="2817241" y="149720"/>
                  </a:lnTo>
                  <a:lnTo>
                    <a:pt x="2827134" y="111620"/>
                  </a:lnTo>
                  <a:lnTo>
                    <a:pt x="2835681" y="73520"/>
                  </a:lnTo>
                  <a:lnTo>
                    <a:pt x="2842857" y="22720"/>
                  </a:lnTo>
                  <a:lnTo>
                    <a:pt x="2845346" y="10020"/>
                  </a:lnTo>
                  <a:close/>
                </a:path>
                <a:path w="3693795" h="4721860">
                  <a:moveTo>
                    <a:pt x="3506774" y="1344333"/>
                  </a:moveTo>
                  <a:lnTo>
                    <a:pt x="3503396" y="1297622"/>
                  </a:lnTo>
                  <a:lnTo>
                    <a:pt x="3493605" y="1253045"/>
                  </a:lnTo>
                  <a:lnTo>
                    <a:pt x="3477857" y="1211084"/>
                  </a:lnTo>
                  <a:lnTo>
                    <a:pt x="3456660" y="1172222"/>
                  </a:lnTo>
                  <a:lnTo>
                    <a:pt x="3430473" y="1136954"/>
                  </a:lnTo>
                  <a:lnTo>
                    <a:pt x="3399790" y="1105776"/>
                  </a:lnTo>
                  <a:lnTo>
                    <a:pt x="3365093" y="1079169"/>
                  </a:lnTo>
                  <a:lnTo>
                    <a:pt x="3326854" y="1057630"/>
                  </a:lnTo>
                  <a:lnTo>
                    <a:pt x="3285566" y="1041628"/>
                  </a:lnTo>
                  <a:lnTo>
                    <a:pt x="3241700" y="1031671"/>
                  </a:lnTo>
                  <a:lnTo>
                    <a:pt x="3195739" y="1028242"/>
                  </a:lnTo>
                  <a:lnTo>
                    <a:pt x="3149777" y="1031671"/>
                  </a:lnTo>
                  <a:lnTo>
                    <a:pt x="3105899" y="1041628"/>
                  </a:lnTo>
                  <a:lnTo>
                    <a:pt x="3064611" y="1057630"/>
                  </a:lnTo>
                  <a:lnTo>
                    <a:pt x="3026372" y="1079169"/>
                  </a:lnTo>
                  <a:lnTo>
                    <a:pt x="2991675" y="1105776"/>
                  </a:lnTo>
                  <a:lnTo>
                    <a:pt x="2960992" y="1136954"/>
                  </a:lnTo>
                  <a:lnTo>
                    <a:pt x="2934805" y="1172222"/>
                  </a:lnTo>
                  <a:lnTo>
                    <a:pt x="2913608" y="1211084"/>
                  </a:lnTo>
                  <a:lnTo>
                    <a:pt x="2897873" y="1253045"/>
                  </a:lnTo>
                  <a:lnTo>
                    <a:pt x="2888069" y="1297622"/>
                  </a:lnTo>
                  <a:lnTo>
                    <a:pt x="2884703" y="1344333"/>
                  </a:lnTo>
                  <a:lnTo>
                    <a:pt x="2888069" y="1391043"/>
                  </a:lnTo>
                  <a:lnTo>
                    <a:pt x="2897873" y="1435633"/>
                  </a:lnTo>
                  <a:lnTo>
                    <a:pt x="2913608" y="1477594"/>
                  </a:lnTo>
                  <a:lnTo>
                    <a:pt x="2934805" y="1516456"/>
                  </a:lnTo>
                  <a:lnTo>
                    <a:pt x="2960992" y="1551711"/>
                  </a:lnTo>
                  <a:lnTo>
                    <a:pt x="2991675" y="1582902"/>
                  </a:lnTo>
                  <a:lnTo>
                    <a:pt x="3026372" y="1609509"/>
                  </a:lnTo>
                  <a:lnTo>
                    <a:pt x="3064611" y="1631048"/>
                  </a:lnTo>
                  <a:lnTo>
                    <a:pt x="3105899" y="1647050"/>
                  </a:lnTo>
                  <a:lnTo>
                    <a:pt x="3149777" y="1657007"/>
                  </a:lnTo>
                  <a:lnTo>
                    <a:pt x="3195739" y="1660423"/>
                  </a:lnTo>
                  <a:lnTo>
                    <a:pt x="3241700" y="1657007"/>
                  </a:lnTo>
                  <a:lnTo>
                    <a:pt x="3285566" y="1647050"/>
                  </a:lnTo>
                  <a:lnTo>
                    <a:pt x="3326854" y="1631048"/>
                  </a:lnTo>
                  <a:lnTo>
                    <a:pt x="3365093" y="1609509"/>
                  </a:lnTo>
                  <a:lnTo>
                    <a:pt x="3399790" y="1582902"/>
                  </a:lnTo>
                  <a:lnTo>
                    <a:pt x="3430473" y="1551711"/>
                  </a:lnTo>
                  <a:lnTo>
                    <a:pt x="3456660" y="1516456"/>
                  </a:lnTo>
                  <a:lnTo>
                    <a:pt x="3477857" y="1477594"/>
                  </a:lnTo>
                  <a:lnTo>
                    <a:pt x="3493605" y="1435633"/>
                  </a:lnTo>
                  <a:lnTo>
                    <a:pt x="3503396" y="1391043"/>
                  </a:lnTo>
                  <a:lnTo>
                    <a:pt x="3506774" y="1344333"/>
                  </a:lnTo>
                  <a:close/>
                </a:path>
                <a:path w="3693795" h="4721860">
                  <a:moveTo>
                    <a:pt x="3508527" y="2550566"/>
                  </a:moveTo>
                  <a:lnTo>
                    <a:pt x="3505873" y="2503855"/>
                  </a:lnTo>
                  <a:lnTo>
                    <a:pt x="3498113" y="2458732"/>
                  </a:lnTo>
                  <a:lnTo>
                    <a:pt x="3485540" y="2415476"/>
                  </a:lnTo>
                  <a:lnTo>
                    <a:pt x="3468459" y="2374417"/>
                  </a:lnTo>
                  <a:lnTo>
                    <a:pt x="3447161" y="2335834"/>
                  </a:lnTo>
                  <a:lnTo>
                    <a:pt x="3421938" y="2300046"/>
                  </a:lnTo>
                  <a:lnTo>
                    <a:pt x="3393084" y="2267331"/>
                  </a:lnTo>
                  <a:lnTo>
                    <a:pt x="3360890" y="2238006"/>
                  </a:lnTo>
                  <a:lnTo>
                    <a:pt x="3325672" y="2212378"/>
                  </a:lnTo>
                  <a:lnTo>
                    <a:pt x="3287712" y="2190724"/>
                  </a:lnTo>
                  <a:lnTo>
                    <a:pt x="3247301" y="2173363"/>
                  </a:lnTo>
                  <a:lnTo>
                    <a:pt x="3204756" y="2160587"/>
                  </a:lnTo>
                  <a:lnTo>
                    <a:pt x="3160344" y="2152713"/>
                  </a:lnTo>
                  <a:lnTo>
                    <a:pt x="3114383" y="2150008"/>
                  </a:lnTo>
                  <a:lnTo>
                    <a:pt x="3068409" y="2152713"/>
                  </a:lnTo>
                  <a:lnTo>
                    <a:pt x="3024009" y="2160587"/>
                  </a:lnTo>
                  <a:lnTo>
                    <a:pt x="2981452" y="2173363"/>
                  </a:lnTo>
                  <a:lnTo>
                    <a:pt x="2941040" y="2190724"/>
                  </a:lnTo>
                  <a:lnTo>
                    <a:pt x="2903080" y="2212378"/>
                  </a:lnTo>
                  <a:lnTo>
                    <a:pt x="2867863" y="2238006"/>
                  </a:lnTo>
                  <a:lnTo>
                    <a:pt x="2835681" y="2267331"/>
                  </a:lnTo>
                  <a:lnTo>
                    <a:pt x="2806827" y="2300046"/>
                  </a:lnTo>
                  <a:lnTo>
                    <a:pt x="2781604" y="2335834"/>
                  </a:lnTo>
                  <a:lnTo>
                    <a:pt x="2760294" y="2374417"/>
                  </a:lnTo>
                  <a:lnTo>
                    <a:pt x="2743212" y="2415476"/>
                  </a:lnTo>
                  <a:lnTo>
                    <a:pt x="2730639" y="2458732"/>
                  </a:lnTo>
                  <a:lnTo>
                    <a:pt x="2722880" y="2503855"/>
                  </a:lnTo>
                  <a:lnTo>
                    <a:pt x="2720238" y="2550566"/>
                  </a:lnTo>
                  <a:lnTo>
                    <a:pt x="2722880" y="2597289"/>
                  </a:lnTo>
                  <a:lnTo>
                    <a:pt x="2730639" y="2642412"/>
                  </a:lnTo>
                  <a:lnTo>
                    <a:pt x="2743212" y="2685669"/>
                  </a:lnTo>
                  <a:lnTo>
                    <a:pt x="2760294" y="2726728"/>
                  </a:lnTo>
                  <a:lnTo>
                    <a:pt x="2781604" y="2765310"/>
                  </a:lnTo>
                  <a:lnTo>
                    <a:pt x="2806827" y="2801099"/>
                  </a:lnTo>
                  <a:lnTo>
                    <a:pt x="2835681" y="2833814"/>
                  </a:lnTo>
                  <a:lnTo>
                    <a:pt x="2867863" y="2863126"/>
                  </a:lnTo>
                  <a:lnTo>
                    <a:pt x="2903080" y="2888767"/>
                  </a:lnTo>
                  <a:lnTo>
                    <a:pt x="2941040" y="2910421"/>
                  </a:lnTo>
                  <a:lnTo>
                    <a:pt x="2981452" y="2927781"/>
                  </a:lnTo>
                  <a:lnTo>
                    <a:pt x="3024009" y="2940545"/>
                  </a:lnTo>
                  <a:lnTo>
                    <a:pt x="3068409" y="2948432"/>
                  </a:lnTo>
                  <a:lnTo>
                    <a:pt x="3114383" y="2951124"/>
                  </a:lnTo>
                  <a:lnTo>
                    <a:pt x="3160344" y="2948432"/>
                  </a:lnTo>
                  <a:lnTo>
                    <a:pt x="3204756" y="2940545"/>
                  </a:lnTo>
                  <a:lnTo>
                    <a:pt x="3247301" y="2927781"/>
                  </a:lnTo>
                  <a:lnTo>
                    <a:pt x="3287712" y="2910421"/>
                  </a:lnTo>
                  <a:lnTo>
                    <a:pt x="3325672" y="2888767"/>
                  </a:lnTo>
                  <a:lnTo>
                    <a:pt x="3360890" y="2863126"/>
                  </a:lnTo>
                  <a:lnTo>
                    <a:pt x="3393084" y="2833814"/>
                  </a:lnTo>
                  <a:lnTo>
                    <a:pt x="3421938" y="2801099"/>
                  </a:lnTo>
                  <a:lnTo>
                    <a:pt x="3447161" y="2765310"/>
                  </a:lnTo>
                  <a:lnTo>
                    <a:pt x="3468459" y="2726728"/>
                  </a:lnTo>
                  <a:lnTo>
                    <a:pt x="3485540" y="2685669"/>
                  </a:lnTo>
                  <a:lnTo>
                    <a:pt x="3498113" y="2642412"/>
                  </a:lnTo>
                  <a:lnTo>
                    <a:pt x="3505873" y="2597289"/>
                  </a:lnTo>
                  <a:lnTo>
                    <a:pt x="3508527" y="2550566"/>
                  </a:lnTo>
                  <a:close/>
                </a:path>
                <a:path w="3693795" h="4721860">
                  <a:moveTo>
                    <a:pt x="3693350" y="317944"/>
                  </a:moveTo>
                  <a:lnTo>
                    <a:pt x="3689007" y="268770"/>
                  </a:lnTo>
                  <a:lnTo>
                    <a:pt x="3676510" y="222491"/>
                  </a:lnTo>
                  <a:lnTo>
                    <a:pt x="3656596" y="179870"/>
                  </a:lnTo>
                  <a:lnTo>
                    <a:pt x="3630041" y="141693"/>
                  </a:lnTo>
                  <a:lnTo>
                    <a:pt x="3597592" y="108724"/>
                  </a:lnTo>
                  <a:lnTo>
                    <a:pt x="3560026" y="81737"/>
                  </a:lnTo>
                  <a:lnTo>
                    <a:pt x="3518090" y="61506"/>
                  </a:lnTo>
                  <a:lnTo>
                    <a:pt x="3472548" y="48793"/>
                  </a:lnTo>
                  <a:lnTo>
                    <a:pt x="3424161" y="44386"/>
                  </a:lnTo>
                  <a:lnTo>
                    <a:pt x="3375774" y="48793"/>
                  </a:lnTo>
                  <a:lnTo>
                    <a:pt x="3330232" y="61506"/>
                  </a:lnTo>
                  <a:lnTo>
                    <a:pt x="3288296" y="81737"/>
                  </a:lnTo>
                  <a:lnTo>
                    <a:pt x="3250730" y="108724"/>
                  </a:lnTo>
                  <a:lnTo>
                    <a:pt x="3218281" y="141693"/>
                  </a:lnTo>
                  <a:lnTo>
                    <a:pt x="3191726" y="179870"/>
                  </a:lnTo>
                  <a:lnTo>
                    <a:pt x="3171812" y="222491"/>
                  </a:lnTo>
                  <a:lnTo>
                    <a:pt x="3159315" y="268770"/>
                  </a:lnTo>
                  <a:lnTo>
                    <a:pt x="3154972" y="317944"/>
                  </a:lnTo>
                  <a:lnTo>
                    <a:pt x="3159315" y="367118"/>
                  </a:lnTo>
                  <a:lnTo>
                    <a:pt x="3171812" y="413397"/>
                  </a:lnTo>
                  <a:lnTo>
                    <a:pt x="3191726" y="456018"/>
                  </a:lnTo>
                  <a:lnTo>
                    <a:pt x="3218281" y="494207"/>
                  </a:lnTo>
                  <a:lnTo>
                    <a:pt x="3250730" y="527177"/>
                  </a:lnTo>
                  <a:lnTo>
                    <a:pt x="3288296" y="554164"/>
                  </a:lnTo>
                  <a:lnTo>
                    <a:pt x="3330232" y="574395"/>
                  </a:lnTo>
                  <a:lnTo>
                    <a:pt x="3375774" y="587108"/>
                  </a:lnTo>
                  <a:lnTo>
                    <a:pt x="3424161" y="591515"/>
                  </a:lnTo>
                  <a:lnTo>
                    <a:pt x="3472548" y="587108"/>
                  </a:lnTo>
                  <a:lnTo>
                    <a:pt x="3518090" y="574395"/>
                  </a:lnTo>
                  <a:lnTo>
                    <a:pt x="3560026" y="554164"/>
                  </a:lnTo>
                  <a:lnTo>
                    <a:pt x="3597592" y="527177"/>
                  </a:lnTo>
                  <a:lnTo>
                    <a:pt x="3630041" y="494207"/>
                  </a:lnTo>
                  <a:lnTo>
                    <a:pt x="3656596" y="456018"/>
                  </a:lnTo>
                  <a:lnTo>
                    <a:pt x="3676510" y="413397"/>
                  </a:lnTo>
                  <a:lnTo>
                    <a:pt x="3689007" y="367118"/>
                  </a:lnTo>
                  <a:lnTo>
                    <a:pt x="3693350" y="317944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5D0CF7AA-5EBE-7C05-F897-4819BD7C555D}"/>
                </a:ext>
              </a:extLst>
            </p:cNvPr>
            <p:cNvSpPr/>
            <p:nvPr/>
          </p:nvSpPr>
          <p:spPr>
            <a:xfrm>
              <a:off x="3624663" y="653716"/>
              <a:ext cx="714591" cy="726107"/>
            </a:xfrm>
            <a:custGeom>
              <a:avLst/>
              <a:gdLst/>
              <a:ahLst/>
              <a:cxnLst/>
              <a:rect l="l" t="t" r="r" b="b"/>
              <a:pathLst>
                <a:path w="788035" h="800735">
                  <a:moveTo>
                    <a:pt x="393953" y="0"/>
                  </a:moveTo>
                  <a:lnTo>
                    <a:pt x="348010" y="2693"/>
                  </a:lnTo>
                  <a:lnTo>
                    <a:pt x="303623" y="10573"/>
                  </a:lnTo>
                  <a:lnTo>
                    <a:pt x="261088" y="23340"/>
                  </a:lnTo>
                  <a:lnTo>
                    <a:pt x="220702" y="40693"/>
                  </a:lnTo>
                  <a:lnTo>
                    <a:pt x="182759" y="62331"/>
                  </a:lnTo>
                  <a:lnTo>
                    <a:pt x="147555" y="87955"/>
                  </a:lnTo>
                  <a:lnTo>
                    <a:pt x="115385" y="117263"/>
                  </a:lnTo>
                  <a:lnTo>
                    <a:pt x="86546" y="149956"/>
                  </a:lnTo>
                  <a:lnTo>
                    <a:pt x="61333" y="185733"/>
                  </a:lnTo>
                  <a:lnTo>
                    <a:pt x="40041" y="224294"/>
                  </a:lnTo>
                  <a:lnTo>
                    <a:pt x="22966" y="265338"/>
                  </a:lnTo>
                  <a:lnTo>
                    <a:pt x="10404" y="308566"/>
                  </a:lnTo>
                  <a:lnTo>
                    <a:pt x="2650" y="353675"/>
                  </a:lnTo>
                  <a:lnTo>
                    <a:pt x="0" y="400367"/>
                  </a:lnTo>
                  <a:lnTo>
                    <a:pt x="2650" y="447056"/>
                  </a:lnTo>
                  <a:lnTo>
                    <a:pt x="10404" y="492164"/>
                  </a:lnTo>
                  <a:lnTo>
                    <a:pt x="22966" y="535389"/>
                  </a:lnTo>
                  <a:lnTo>
                    <a:pt x="40041" y="576432"/>
                  </a:lnTo>
                  <a:lnTo>
                    <a:pt x="61333" y="614991"/>
                  </a:lnTo>
                  <a:lnTo>
                    <a:pt x="86546" y="650767"/>
                  </a:lnTo>
                  <a:lnTo>
                    <a:pt x="115385" y="683460"/>
                  </a:lnTo>
                  <a:lnTo>
                    <a:pt x="147555" y="712767"/>
                  </a:lnTo>
                  <a:lnTo>
                    <a:pt x="182759" y="738391"/>
                  </a:lnTo>
                  <a:lnTo>
                    <a:pt x="220702" y="760029"/>
                  </a:lnTo>
                  <a:lnTo>
                    <a:pt x="261088" y="777381"/>
                  </a:lnTo>
                  <a:lnTo>
                    <a:pt x="303623" y="790148"/>
                  </a:lnTo>
                  <a:lnTo>
                    <a:pt x="348010" y="798028"/>
                  </a:lnTo>
                  <a:lnTo>
                    <a:pt x="393953" y="800722"/>
                  </a:lnTo>
                  <a:lnTo>
                    <a:pt x="439897" y="798028"/>
                  </a:lnTo>
                  <a:lnTo>
                    <a:pt x="484284" y="790148"/>
                  </a:lnTo>
                  <a:lnTo>
                    <a:pt x="526819" y="777381"/>
                  </a:lnTo>
                  <a:lnTo>
                    <a:pt x="567205" y="760029"/>
                  </a:lnTo>
                  <a:lnTo>
                    <a:pt x="605148" y="738391"/>
                  </a:lnTo>
                  <a:lnTo>
                    <a:pt x="640352" y="712767"/>
                  </a:lnTo>
                  <a:lnTo>
                    <a:pt x="672522" y="683460"/>
                  </a:lnTo>
                  <a:lnTo>
                    <a:pt x="701361" y="650767"/>
                  </a:lnTo>
                  <a:lnTo>
                    <a:pt x="726574" y="614991"/>
                  </a:lnTo>
                  <a:lnTo>
                    <a:pt x="747866" y="576432"/>
                  </a:lnTo>
                  <a:lnTo>
                    <a:pt x="764941" y="535389"/>
                  </a:lnTo>
                  <a:lnTo>
                    <a:pt x="777503" y="492164"/>
                  </a:lnTo>
                  <a:lnTo>
                    <a:pt x="785257" y="447056"/>
                  </a:lnTo>
                  <a:lnTo>
                    <a:pt x="787907" y="400367"/>
                  </a:lnTo>
                  <a:lnTo>
                    <a:pt x="785257" y="353675"/>
                  </a:lnTo>
                  <a:lnTo>
                    <a:pt x="777503" y="308566"/>
                  </a:lnTo>
                  <a:lnTo>
                    <a:pt x="764941" y="265338"/>
                  </a:lnTo>
                  <a:lnTo>
                    <a:pt x="747866" y="224294"/>
                  </a:lnTo>
                  <a:lnTo>
                    <a:pt x="726574" y="185733"/>
                  </a:lnTo>
                  <a:lnTo>
                    <a:pt x="701361" y="149956"/>
                  </a:lnTo>
                  <a:lnTo>
                    <a:pt x="672522" y="117263"/>
                  </a:lnTo>
                  <a:lnTo>
                    <a:pt x="640352" y="87955"/>
                  </a:lnTo>
                  <a:lnTo>
                    <a:pt x="605148" y="62331"/>
                  </a:lnTo>
                  <a:lnTo>
                    <a:pt x="567205" y="40693"/>
                  </a:lnTo>
                  <a:lnTo>
                    <a:pt x="526819" y="23340"/>
                  </a:lnTo>
                  <a:lnTo>
                    <a:pt x="484284" y="10573"/>
                  </a:lnTo>
                  <a:lnTo>
                    <a:pt x="439897" y="2693"/>
                  </a:lnTo>
                  <a:lnTo>
                    <a:pt x="39395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5DD953B-F14D-071F-E4DD-C54031B4394C}"/>
                </a:ext>
              </a:extLst>
            </p:cNvPr>
            <p:cNvSpPr/>
            <p:nvPr/>
          </p:nvSpPr>
          <p:spPr>
            <a:xfrm>
              <a:off x="9597" y="0"/>
              <a:ext cx="210750" cy="1356629"/>
            </a:xfrm>
            <a:custGeom>
              <a:avLst/>
              <a:gdLst/>
              <a:ahLst/>
              <a:cxnLst/>
              <a:rect l="l" t="t" r="r" b="b"/>
              <a:pathLst>
                <a:path w="232410" h="1496060">
                  <a:moveTo>
                    <a:pt x="105352" y="1242277"/>
                  </a:moveTo>
                  <a:lnTo>
                    <a:pt x="0" y="1242277"/>
                  </a:lnTo>
                  <a:lnTo>
                    <a:pt x="0" y="1495642"/>
                  </a:lnTo>
                  <a:lnTo>
                    <a:pt x="105352" y="1495642"/>
                  </a:lnTo>
                  <a:lnTo>
                    <a:pt x="154663" y="1485686"/>
                  </a:lnTo>
                  <a:lnTo>
                    <a:pt x="194930" y="1458537"/>
                  </a:lnTo>
                  <a:lnTo>
                    <a:pt x="222079" y="1418269"/>
                  </a:lnTo>
                  <a:lnTo>
                    <a:pt x="232035" y="1368959"/>
                  </a:lnTo>
                  <a:lnTo>
                    <a:pt x="222079" y="1319649"/>
                  </a:lnTo>
                  <a:lnTo>
                    <a:pt x="194930" y="1279381"/>
                  </a:lnTo>
                  <a:lnTo>
                    <a:pt x="154663" y="1252232"/>
                  </a:lnTo>
                  <a:lnTo>
                    <a:pt x="105352" y="1242277"/>
                  </a:lnTo>
                  <a:close/>
                </a:path>
                <a:path w="232410" h="1496060">
                  <a:moveTo>
                    <a:pt x="4730" y="660413"/>
                  </a:moveTo>
                  <a:lnTo>
                    <a:pt x="0" y="660413"/>
                  </a:lnTo>
                  <a:lnTo>
                    <a:pt x="0" y="913778"/>
                  </a:lnTo>
                  <a:lnTo>
                    <a:pt x="4730" y="913778"/>
                  </a:lnTo>
                  <a:lnTo>
                    <a:pt x="54035" y="903821"/>
                  </a:lnTo>
                  <a:lnTo>
                    <a:pt x="94303" y="876669"/>
                  </a:lnTo>
                  <a:lnTo>
                    <a:pt x="121456" y="836401"/>
                  </a:lnTo>
                  <a:lnTo>
                    <a:pt x="131413" y="787096"/>
                  </a:lnTo>
                  <a:lnTo>
                    <a:pt x="121456" y="737786"/>
                  </a:lnTo>
                  <a:lnTo>
                    <a:pt x="94303" y="697518"/>
                  </a:lnTo>
                  <a:lnTo>
                    <a:pt x="54035" y="670369"/>
                  </a:lnTo>
                  <a:lnTo>
                    <a:pt x="4730" y="660413"/>
                  </a:lnTo>
                  <a:close/>
                </a:path>
                <a:path w="232410" h="1496060">
                  <a:moveTo>
                    <a:pt x="6762" y="0"/>
                  </a:moveTo>
                  <a:lnTo>
                    <a:pt x="0" y="0"/>
                  </a:lnTo>
                  <a:lnTo>
                    <a:pt x="0" y="6232"/>
                  </a:lnTo>
                  <a:lnTo>
                    <a:pt x="676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0789B18E-19FB-CD65-207B-43C48EBE5A69}"/>
                </a:ext>
              </a:extLst>
            </p:cNvPr>
            <p:cNvSpPr/>
            <p:nvPr/>
          </p:nvSpPr>
          <p:spPr>
            <a:xfrm>
              <a:off x="9598" y="1623705"/>
              <a:ext cx="399042" cy="229752"/>
            </a:xfrm>
            <a:custGeom>
              <a:avLst/>
              <a:gdLst/>
              <a:ahLst/>
              <a:cxnLst/>
              <a:rect l="l" t="t" r="r" b="b"/>
              <a:pathLst>
                <a:path w="440055" h="253364">
                  <a:moveTo>
                    <a:pt x="312827" y="0"/>
                  </a:moveTo>
                  <a:lnTo>
                    <a:pt x="0" y="0"/>
                  </a:lnTo>
                  <a:lnTo>
                    <a:pt x="0" y="253365"/>
                  </a:lnTo>
                  <a:lnTo>
                    <a:pt x="312827" y="253365"/>
                  </a:lnTo>
                  <a:lnTo>
                    <a:pt x="362132" y="243409"/>
                  </a:lnTo>
                  <a:lnTo>
                    <a:pt x="402400" y="216260"/>
                  </a:lnTo>
                  <a:lnTo>
                    <a:pt x="429552" y="175992"/>
                  </a:lnTo>
                  <a:lnTo>
                    <a:pt x="439510" y="126682"/>
                  </a:lnTo>
                  <a:lnTo>
                    <a:pt x="429552" y="77372"/>
                  </a:lnTo>
                  <a:lnTo>
                    <a:pt x="402400" y="37104"/>
                  </a:lnTo>
                  <a:lnTo>
                    <a:pt x="362132" y="9955"/>
                  </a:lnTo>
                  <a:lnTo>
                    <a:pt x="312827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815F2B0-E8A3-E494-B8FD-FEAD7DDF456A}"/>
                </a:ext>
              </a:extLst>
            </p:cNvPr>
            <p:cNvSpPr/>
            <p:nvPr/>
          </p:nvSpPr>
          <p:spPr>
            <a:xfrm>
              <a:off x="304371" y="530626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19">
                  <a:moveTo>
                    <a:pt x="191198" y="0"/>
                  </a:moveTo>
                  <a:lnTo>
                    <a:pt x="147361" y="5131"/>
                  </a:lnTo>
                  <a:lnTo>
                    <a:pt x="107117" y="19747"/>
                  </a:lnTo>
                  <a:lnTo>
                    <a:pt x="71617" y="42682"/>
                  </a:lnTo>
                  <a:lnTo>
                    <a:pt x="42006" y="72771"/>
                  </a:lnTo>
                  <a:lnTo>
                    <a:pt x="19435" y="108846"/>
                  </a:lnTo>
                  <a:lnTo>
                    <a:pt x="5050" y="149744"/>
                  </a:lnTo>
                  <a:lnTo>
                    <a:pt x="0" y="194297"/>
                  </a:lnTo>
                  <a:lnTo>
                    <a:pt x="5050" y="238850"/>
                  </a:lnTo>
                  <a:lnTo>
                    <a:pt x="19435" y="279750"/>
                  </a:lnTo>
                  <a:lnTo>
                    <a:pt x="42006" y="315828"/>
                  </a:lnTo>
                  <a:lnTo>
                    <a:pt x="71617" y="345919"/>
                  </a:lnTo>
                  <a:lnTo>
                    <a:pt x="107117" y="368857"/>
                  </a:lnTo>
                  <a:lnTo>
                    <a:pt x="147361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4"/>
                  </a:lnTo>
                  <a:lnTo>
                    <a:pt x="362964" y="108846"/>
                  </a:lnTo>
                  <a:lnTo>
                    <a:pt x="340394" y="72771"/>
                  </a:lnTo>
                  <a:lnTo>
                    <a:pt x="310785" y="42682"/>
                  </a:lnTo>
                  <a:lnTo>
                    <a:pt x="275284" y="19747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C1CF5157-7353-D424-0299-651CBB82B636}"/>
                </a:ext>
              </a:extLst>
            </p:cNvPr>
            <p:cNvSpPr/>
            <p:nvPr/>
          </p:nvSpPr>
          <p:spPr>
            <a:xfrm>
              <a:off x="508301" y="1080912"/>
              <a:ext cx="292516" cy="297122"/>
            </a:xfrm>
            <a:custGeom>
              <a:avLst/>
              <a:gdLst/>
              <a:ahLst/>
              <a:cxnLst/>
              <a:rect l="l" t="t" r="r" b="b"/>
              <a:pathLst>
                <a:path w="322580" h="327659">
                  <a:moveTo>
                    <a:pt x="161213" y="0"/>
                  </a:moveTo>
                  <a:lnTo>
                    <a:pt x="118355" y="5851"/>
                  </a:lnTo>
                  <a:lnTo>
                    <a:pt x="79844" y="22366"/>
                  </a:lnTo>
                  <a:lnTo>
                    <a:pt x="47217" y="47982"/>
                  </a:lnTo>
                  <a:lnTo>
                    <a:pt x="22009" y="81138"/>
                  </a:lnTo>
                  <a:lnTo>
                    <a:pt x="5758" y="120275"/>
                  </a:lnTo>
                  <a:lnTo>
                    <a:pt x="0" y="163830"/>
                  </a:lnTo>
                  <a:lnTo>
                    <a:pt x="5758" y="207380"/>
                  </a:lnTo>
                  <a:lnTo>
                    <a:pt x="22009" y="246515"/>
                  </a:lnTo>
                  <a:lnTo>
                    <a:pt x="47217" y="279673"/>
                  </a:lnTo>
                  <a:lnTo>
                    <a:pt x="79844" y="305291"/>
                  </a:lnTo>
                  <a:lnTo>
                    <a:pt x="118355" y="321807"/>
                  </a:lnTo>
                  <a:lnTo>
                    <a:pt x="161213" y="327660"/>
                  </a:lnTo>
                  <a:lnTo>
                    <a:pt x="204072" y="321807"/>
                  </a:lnTo>
                  <a:lnTo>
                    <a:pt x="242583" y="305291"/>
                  </a:lnTo>
                  <a:lnTo>
                    <a:pt x="275210" y="279673"/>
                  </a:lnTo>
                  <a:lnTo>
                    <a:pt x="300418" y="246515"/>
                  </a:lnTo>
                  <a:lnTo>
                    <a:pt x="316669" y="207380"/>
                  </a:lnTo>
                  <a:lnTo>
                    <a:pt x="322427" y="163830"/>
                  </a:lnTo>
                  <a:lnTo>
                    <a:pt x="316669" y="120275"/>
                  </a:lnTo>
                  <a:lnTo>
                    <a:pt x="300418" y="81138"/>
                  </a:lnTo>
                  <a:lnTo>
                    <a:pt x="275210" y="47982"/>
                  </a:lnTo>
                  <a:lnTo>
                    <a:pt x="242583" y="22366"/>
                  </a:lnTo>
                  <a:lnTo>
                    <a:pt x="204072" y="5851"/>
                  </a:lnTo>
                  <a:lnTo>
                    <a:pt x="16121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8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id="{A0C72F04-F457-6AB5-12E0-833F45AA60AC}"/>
              </a:ext>
            </a:extLst>
          </p:cNvPr>
          <p:cNvSpPr/>
          <p:nvPr/>
        </p:nvSpPr>
        <p:spPr>
          <a:xfrm rot="10800000">
            <a:off x="11929385" y="3918569"/>
            <a:ext cx="767112" cy="726458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12">
            <a:extLst>
              <a:ext uri="{FF2B5EF4-FFF2-40B4-BE49-F238E27FC236}">
                <a16:creationId xmlns:a16="http://schemas.microsoft.com/office/drawing/2014/main" id="{BED36AC7-786D-8EDD-B9F6-31DD1F862F88}"/>
              </a:ext>
            </a:extLst>
          </p:cNvPr>
          <p:cNvSpPr/>
          <p:nvPr/>
        </p:nvSpPr>
        <p:spPr>
          <a:xfrm rot="10800000">
            <a:off x="11955863" y="5877240"/>
            <a:ext cx="638498" cy="334035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976196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22" y="593213"/>
            <a:ext cx="8904068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FBC006D3-0A54-93B6-4CCC-16B74A7470A7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3DC9DC2C-26DF-CC61-5EF9-0D16A177B12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DE522677-B305-5913-4089-A926AF11D49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54E2F8A9-7845-E09E-8B79-723848C5AA1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FBF597C-A0FC-EE2B-C75A-6AFEBEC69750}"/>
              </a:ext>
            </a:extLst>
          </p:cNvPr>
          <p:cNvGrpSpPr/>
          <p:nvPr/>
        </p:nvGrpSpPr>
        <p:grpSpPr>
          <a:xfrm>
            <a:off x="9598" y="4391414"/>
            <a:ext cx="3729812" cy="2464571"/>
            <a:chOff x="9598" y="4391414"/>
            <a:chExt cx="3729812" cy="2464571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8FECB771-16CA-A0E5-0DFE-DEA5D2B1B8F4}"/>
                </a:ext>
              </a:extLst>
            </p:cNvPr>
            <p:cNvSpPr/>
            <p:nvPr/>
          </p:nvSpPr>
          <p:spPr>
            <a:xfrm>
              <a:off x="1102322" y="6790972"/>
              <a:ext cx="599427" cy="64492"/>
            </a:xfrm>
            <a:custGeom>
              <a:avLst/>
              <a:gdLst/>
              <a:ahLst/>
              <a:cxnLst/>
              <a:rect l="l" t="t" r="r" b="b"/>
              <a:pathLst>
                <a:path w="661035" h="71120">
                  <a:moveTo>
                    <a:pt x="547984" y="0"/>
                  </a:moveTo>
                  <a:lnTo>
                    <a:pt x="112463" y="0"/>
                  </a:lnTo>
                  <a:lnTo>
                    <a:pt x="63146" y="9955"/>
                  </a:lnTo>
                  <a:lnTo>
                    <a:pt x="22888" y="37104"/>
                  </a:lnTo>
                  <a:lnTo>
                    <a:pt x="0" y="71071"/>
                  </a:lnTo>
                  <a:lnTo>
                    <a:pt x="660448" y="71071"/>
                  </a:lnTo>
                  <a:lnTo>
                    <a:pt x="637559" y="37104"/>
                  </a:lnTo>
                  <a:lnTo>
                    <a:pt x="597301" y="9955"/>
                  </a:lnTo>
                  <a:lnTo>
                    <a:pt x="54798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D3CA8ECF-9710-8720-2CD0-DA636B54B0B5}"/>
                </a:ext>
              </a:extLst>
            </p:cNvPr>
            <p:cNvSpPr/>
            <p:nvPr/>
          </p:nvSpPr>
          <p:spPr>
            <a:xfrm>
              <a:off x="1847987" y="6161548"/>
              <a:ext cx="770445" cy="694437"/>
            </a:xfrm>
            <a:custGeom>
              <a:avLst/>
              <a:gdLst/>
              <a:ahLst/>
              <a:cxnLst/>
              <a:rect l="l" t="t" r="r" b="b"/>
              <a:pathLst>
                <a:path w="849630" h="765809">
                  <a:moveTo>
                    <a:pt x="277797" y="0"/>
                  </a:moveTo>
                  <a:lnTo>
                    <a:pt x="232138" y="10089"/>
                  </a:lnTo>
                  <a:lnTo>
                    <a:pt x="189939" y="31774"/>
                  </a:lnTo>
                  <a:lnTo>
                    <a:pt x="153625" y="64816"/>
                  </a:lnTo>
                  <a:lnTo>
                    <a:pt x="127301" y="106257"/>
                  </a:lnTo>
                  <a:lnTo>
                    <a:pt x="113256" y="151637"/>
                  </a:lnTo>
                  <a:lnTo>
                    <a:pt x="111269" y="198494"/>
                  </a:lnTo>
                  <a:lnTo>
                    <a:pt x="121117" y="244368"/>
                  </a:lnTo>
                  <a:lnTo>
                    <a:pt x="142578" y="286798"/>
                  </a:lnTo>
                  <a:lnTo>
                    <a:pt x="175431" y="323324"/>
                  </a:lnTo>
                  <a:lnTo>
                    <a:pt x="183761" y="330740"/>
                  </a:lnTo>
                  <a:lnTo>
                    <a:pt x="200872" y="347032"/>
                  </a:lnTo>
                  <a:lnTo>
                    <a:pt x="255253" y="405507"/>
                  </a:lnTo>
                  <a:lnTo>
                    <a:pt x="289431" y="447320"/>
                  </a:lnTo>
                  <a:lnTo>
                    <a:pt x="326206" y="497272"/>
                  </a:lnTo>
                  <a:lnTo>
                    <a:pt x="364033" y="555177"/>
                  </a:lnTo>
                  <a:lnTo>
                    <a:pt x="401365" y="620853"/>
                  </a:lnTo>
                  <a:lnTo>
                    <a:pt x="436657" y="694113"/>
                  </a:lnTo>
                  <a:lnTo>
                    <a:pt x="112464" y="694113"/>
                  </a:lnTo>
                  <a:lnTo>
                    <a:pt x="63147" y="704069"/>
                  </a:lnTo>
                  <a:lnTo>
                    <a:pt x="22889" y="731218"/>
                  </a:lnTo>
                  <a:lnTo>
                    <a:pt x="0" y="765186"/>
                  </a:lnTo>
                  <a:lnTo>
                    <a:pt x="849346" y="765186"/>
                  </a:lnTo>
                  <a:lnTo>
                    <a:pt x="828420" y="692250"/>
                  </a:lnTo>
                  <a:lnTo>
                    <a:pt x="808980" y="635413"/>
                  </a:lnTo>
                  <a:lnTo>
                    <a:pt x="787871" y="580991"/>
                  </a:lnTo>
                  <a:lnTo>
                    <a:pt x="765348" y="529010"/>
                  </a:lnTo>
                  <a:lnTo>
                    <a:pt x="741670" y="479497"/>
                  </a:lnTo>
                  <a:lnTo>
                    <a:pt x="717092" y="432480"/>
                  </a:lnTo>
                  <a:lnTo>
                    <a:pt x="691873" y="387985"/>
                  </a:lnTo>
                  <a:lnTo>
                    <a:pt x="666269" y="346039"/>
                  </a:lnTo>
                  <a:lnTo>
                    <a:pt x="640536" y="306670"/>
                  </a:lnTo>
                  <a:lnTo>
                    <a:pt x="614933" y="269906"/>
                  </a:lnTo>
                  <a:lnTo>
                    <a:pt x="589716" y="235772"/>
                  </a:lnTo>
                  <a:lnTo>
                    <a:pt x="565141" y="204296"/>
                  </a:lnTo>
                  <a:lnTo>
                    <a:pt x="518949" y="149427"/>
                  </a:lnTo>
                  <a:lnTo>
                    <a:pt x="478413" y="105516"/>
                  </a:lnTo>
                  <a:lnTo>
                    <a:pt x="445588" y="72781"/>
                  </a:lnTo>
                  <a:lnTo>
                    <a:pt x="411295" y="41702"/>
                  </a:lnTo>
                  <a:lnTo>
                    <a:pt x="369801" y="15566"/>
                  </a:lnTo>
                  <a:lnTo>
                    <a:pt x="324493" y="1745"/>
                  </a:lnTo>
                  <a:lnTo>
                    <a:pt x="277797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2862B2D7-BDD5-F2B2-3968-D2FDB60BD32C}"/>
                </a:ext>
              </a:extLst>
            </p:cNvPr>
            <p:cNvSpPr/>
            <p:nvPr/>
          </p:nvSpPr>
          <p:spPr>
            <a:xfrm>
              <a:off x="1441820" y="60058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2D450728-55B2-39CD-7B12-8A800D0D1A22}"/>
                </a:ext>
              </a:extLst>
            </p:cNvPr>
            <p:cNvSpPr/>
            <p:nvPr/>
          </p:nvSpPr>
          <p:spPr>
            <a:xfrm>
              <a:off x="2512448" y="5841762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14B3E2E4-7B25-7179-7814-2E18247203F3}"/>
                </a:ext>
              </a:extLst>
            </p:cNvPr>
            <p:cNvSpPr/>
            <p:nvPr/>
          </p:nvSpPr>
          <p:spPr>
            <a:xfrm>
              <a:off x="2387729" y="5241019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2CFC7019-072F-B9FC-DA69-CEFBC5ABD001}"/>
                </a:ext>
              </a:extLst>
            </p:cNvPr>
            <p:cNvSpPr/>
            <p:nvPr/>
          </p:nvSpPr>
          <p:spPr>
            <a:xfrm>
              <a:off x="1721136" y="53838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EA3EC4CC-0D07-2030-5906-D47FB104B0F3}"/>
                </a:ext>
              </a:extLst>
            </p:cNvPr>
            <p:cNvSpPr/>
            <p:nvPr/>
          </p:nvSpPr>
          <p:spPr>
            <a:xfrm>
              <a:off x="3097372" y="6327434"/>
              <a:ext cx="642038" cy="528026"/>
            </a:xfrm>
            <a:custGeom>
              <a:avLst/>
              <a:gdLst/>
              <a:ahLst/>
              <a:cxnLst/>
              <a:rect l="l" t="t" r="r" b="b"/>
              <a:pathLst>
                <a:path w="708025" h="58229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76190" y="582253"/>
                  </a:lnTo>
                  <a:lnTo>
                    <a:pt x="631605" y="582253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DB3AFB29-2CA1-6E61-DF86-C2BFC5F2BB0C}"/>
                </a:ext>
              </a:extLst>
            </p:cNvPr>
            <p:cNvSpPr/>
            <p:nvPr/>
          </p:nvSpPr>
          <p:spPr>
            <a:xfrm>
              <a:off x="1504163" y="45407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A1D57932-C3DE-E260-FEA6-803480C75E84}"/>
                </a:ext>
              </a:extLst>
            </p:cNvPr>
            <p:cNvSpPr/>
            <p:nvPr/>
          </p:nvSpPr>
          <p:spPr>
            <a:xfrm>
              <a:off x="9598" y="4391414"/>
              <a:ext cx="1292713" cy="2464504"/>
            </a:xfrm>
            <a:custGeom>
              <a:avLst/>
              <a:gdLst/>
              <a:ahLst/>
              <a:cxnLst/>
              <a:rect l="l" t="t" r="r" b="b"/>
              <a:pathLst>
                <a:path w="1425575" h="2717800">
                  <a:moveTo>
                    <a:pt x="1036905" y="1250138"/>
                  </a:moveTo>
                  <a:lnTo>
                    <a:pt x="7697" y="1250138"/>
                  </a:lnTo>
                  <a:lnTo>
                    <a:pt x="0" y="1251693"/>
                  </a:lnTo>
                  <a:lnTo>
                    <a:pt x="0" y="1501962"/>
                  </a:lnTo>
                  <a:lnTo>
                    <a:pt x="7697" y="1503516"/>
                  </a:lnTo>
                  <a:lnTo>
                    <a:pt x="990626" y="1503516"/>
                  </a:lnTo>
                  <a:lnTo>
                    <a:pt x="972652" y="1549292"/>
                  </a:lnTo>
                  <a:lnTo>
                    <a:pt x="952724" y="1595118"/>
                  </a:lnTo>
                  <a:lnTo>
                    <a:pt x="930908" y="1640986"/>
                  </a:lnTo>
                  <a:lnTo>
                    <a:pt x="907270" y="1686883"/>
                  </a:lnTo>
                  <a:lnTo>
                    <a:pt x="881874" y="1732802"/>
                  </a:lnTo>
                  <a:lnTo>
                    <a:pt x="854786" y="1778731"/>
                  </a:lnTo>
                  <a:lnTo>
                    <a:pt x="826072" y="1824661"/>
                  </a:lnTo>
                  <a:lnTo>
                    <a:pt x="63298" y="1824661"/>
                  </a:lnTo>
                  <a:lnTo>
                    <a:pt x="13987" y="1834618"/>
                  </a:lnTo>
                  <a:lnTo>
                    <a:pt x="0" y="1844050"/>
                  </a:lnTo>
                  <a:lnTo>
                    <a:pt x="0" y="2058640"/>
                  </a:lnTo>
                  <a:lnTo>
                    <a:pt x="13987" y="2068070"/>
                  </a:lnTo>
                  <a:lnTo>
                    <a:pt x="63298" y="2078026"/>
                  </a:lnTo>
                  <a:lnTo>
                    <a:pt x="641478" y="2078026"/>
                  </a:lnTo>
                  <a:lnTo>
                    <a:pt x="610598" y="2115724"/>
                  </a:lnTo>
                  <a:lnTo>
                    <a:pt x="578977" y="2153368"/>
                  </a:lnTo>
                  <a:lnTo>
                    <a:pt x="546654" y="2190951"/>
                  </a:lnTo>
                  <a:lnTo>
                    <a:pt x="513670" y="2228468"/>
                  </a:lnTo>
                  <a:lnTo>
                    <a:pt x="480063" y="2265912"/>
                  </a:lnTo>
                  <a:lnTo>
                    <a:pt x="445873" y="2303278"/>
                  </a:lnTo>
                  <a:lnTo>
                    <a:pt x="411141" y="2340559"/>
                  </a:lnTo>
                  <a:lnTo>
                    <a:pt x="375907" y="2377749"/>
                  </a:lnTo>
                  <a:lnTo>
                    <a:pt x="340209" y="2414843"/>
                  </a:lnTo>
                  <a:lnTo>
                    <a:pt x="304089" y="2451835"/>
                  </a:lnTo>
                  <a:lnTo>
                    <a:pt x="267585" y="2488718"/>
                  </a:lnTo>
                  <a:lnTo>
                    <a:pt x="230738" y="2525486"/>
                  </a:lnTo>
                  <a:lnTo>
                    <a:pt x="193588" y="2562134"/>
                  </a:lnTo>
                  <a:lnTo>
                    <a:pt x="118536" y="2635044"/>
                  </a:lnTo>
                  <a:lnTo>
                    <a:pt x="32318" y="2717250"/>
                  </a:lnTo>
                  <a:lnTo>
                    <a:pt x="559514" y="2717250"/>
                  </a:lnTo>
                  <a:lnTo>
                    <a:pt x="608152" y="2667742"/>
                  </a:lnTo>
                  <a:lnTo>
                    <a:pt x="644609" y="2629983"/>
                  </a:lnTo>
                  <a:lnTo>
                    <a:pt x="680613" y="2592122"/>
                  </a:lnTo>
                  <a:lnTo>
                    <a:pt x="716134" y="2554156"/>
                  </a:lnTo>
                  <a:lnTo>
                    <a:pt x="751143" y="2516081"/>
                  </a:lnTo>
                  <a:lnTo>
                    <a:pt x="785608" y="2477894"/>
                  </a:lnTo>
                  <a:lnTo>
                    <a:pt x="819502" y="2439592"/>
                  </a:lnTo>
                  <a:lnTo>
                    <a:pt x="852793" y="2401172"/>
                  </a:lnTo>
                  <a:lnTo>
                    <a:pt x="885453" y="2362631"/>
                  </a:lnTo>
                  <a:lnTo>
                    <a:pt x="917450" y="2323966"/>
                  </a:lnTo>
                  <a:lnTo>
                    <a:pt x="948756" y="2285174"/>
                  </a:lnTo>
                  <a:lnTo>
                    <a:pt x="979341" y="2246251"/>
                  </a:lnTo>
                  <a:lnTo>
                    <a:pt x="1009174" y="2207195"/>
                  </a:lnTo>
                  <a:lnTo>
                    <a:pt x="1038226" y="2168003"/>
                  </a:lnTo>
                  <a:lnTo>
                    <a:pt x="1066467" y="2128671"/>
                  </a:lnTo>
                  <a:lnTo>
                    <a:pt x="1093868" y="2089196"/>
                  </a:lnTo>
                  <a:lnTo>
                    <a:pt x="1120397" y="2049575"/>
                  </a:lnTo>
                  <a:lnTo>
                    <a:pt x="1146027" y="2009806"/>
                  </a:lnTo>
                  <a:lnTo>
                    <a:pt x="1170726" y="1969884"/>
                  </a:lnTo>
                  <a:lnTo>
                    <a:pt x="1194466" y="1929807"/>
                  </a:lnTo>
                  <a:lnTo>
                    <a:pt x="1217215" y="1889572"/>
                  </a:lnTo>
                  <a:lnTo>
                    <a:pt x="1238945" y="1849176"/>
                  </a:lnTo>
                  <a:lnTo>
                    <a:pt x="1259625" y="1808615"/>
                  </a:lnTo>
                  <a:lnTo>
                    <a:pt x="1279226" y="1767887"/>
                  </a:lnTo>
                  <a:lnTo>
                    <a:pt x="1297718" y="1726988"/>
                  </a:lnTo>
                  <a:lnTo>
                    <a:pt x="1315070" y="1685916"/>
                  </a:lnTo>
                  <a:lnTo>
                    <a:pt x="1331255" y="1644667"/>
                  </a:lnTo>
                  <a:lnTo>
                    <a:pt x="1346240" y="1603237"/>
                  </a:lnTo>
                  <a:lnTo>
                    <a:pt x="1359997" y="1561625"/>
                  </a:lnTo>
                  <a:lnTo>
                    <a:pt x="1372496" y="1519827"/>
                  </a:lnTo>
                  <a:lnTo>
                    <a:pt x="1383707" y="1477840"/>
                  </a:lnTo>
                  <a:lnTo>
                    <a:pt x="1393600" y="1435660"/>
                  </a:lnTo>
                  <a:lnTo>
                    <a:pt x="1402145" y="1393285"/>
                  </a:lnTo>
                  <a:lnTo>
                    <a:pt x="1409313" y="1350711"/>
                  </a:lnTo>
                  <a:lnTo>
                    <a:pt x="1415073" y="1307936"/>
                  </a:lnTo>
                  <a:lnTo>
                    <a:pt x="1420217" y="1252323"/>
                  </a:lnTo>
                  <a:lnTo>
                    <a:pt x="1051129" y="1252323"/>
                  </a:lnTo>
                  <a:lnTo>
                    <a:pt x="1044068" y="1251103"/>
                  </a:lnTo>
                  <a:lnTo>
                    <a:pt x="1036905" y="1250138"/>
                  </a:lnTo>
                  <a:close/>
                </a:path>
                <a:path w="1425575" h="2717800">
                  <a:moveTo>
                    <a:pt x="807014" y="0"/>
                  </a:moveTo>
                  <a:lnTo>
                    <a:pt x="761364" y="10091"/>
                  </a:lnTo>
                  <a:lnTo>
                    <a:pt x="719176" y="31783"/>
                  </a:lnTo>
                  <a:lnTo>
                    <a:pt x="682867" y="64835"/>
                  </a:lnTo>
                  <a:lnTo>
                    <a:pt x="656535" y="106276"/>
                  </a:lnTo>
                  <a:lnTo>
                    <a:pt x="642490" y="151656"/>
                  </a:lnTo>
                  <a:lnTo>
                    <a:pt x="640506" y="198513"/>
                  </a:lnTo>
                  <a:lnTo>
                    <a:pt x="650359" y="244387"/>
                  </a:lnTo>
                  <a:lnTo>
                    <a:pt x="671823" y="286817"/>
                  </a:lnTo>
                  <a:lnTo>
                    <a:pt x="704673" y="323343"/>
                  </a:lnTo>
                  <a:lnTo>
                    <a:pt x="713003" y="330759"/>
                  </a:lnTo>
                  <a:lnTo>
                    <a:pt x="730114" y="347051"/>
                  </a:lnTo>
                  <a:lnTo>
                    <a:pt x="784494" y="405526"/>
                  </a:lnTo>
                  <a:lnTo>
                    <a:pt x="818671" y="447339"/>
                  </a:lnTo>
                  <a:lnTo>
                    <a:pt x="855445" y="497291"/>
                  </a:lnTo>
                  <a:lnTo>
                    <a:pt x="893269" y="555196"/>
                  </a:lnTo>
                  <a:lnTo>
                    <a:pt x="930598" y="620872"/>
                  </a:lnTo>
                  <a:lnTo>
                    <a:pt x="965887" y="694132"/>
                  </a:lnTo>
                  <a:lnTo>
                    <a:pt x="394272" y="694132"/>
                  </a:lnTo>
                  <a:lnTo>
                    <a:pt x="344967" y="704088"/>
                  </a:lnTo>
                  <a:lnTo>
                    <a:pt x="304699" y="731237"/>
                  </a:lnTo>
                  <a:lnTo>
                    <a:pt x="277547" y="771504"/>
                  </a:lnTo>
                  <a:lnTo>
                    <a:pt x="267590" y="820815"/>
                  </a:lnTo>
                  <a:lnTo>
                    <a:pt x="277547" y="870120"/>
                  </a:lnTo>
                  <a:lnTo>
                    <a:pt x="304699" y="910388"/>
                  </a:lnTo>
                  <a:lnTo>
                    <a:pt x="344967" y="937540"/>
                  </a:lnTo>
                  <a:lnTo>
                    <a:pt x="394272" y="947497"/>
                  </a:lnTo>
                  <a:lnTo>
                    <a:pt x="1042074" y="947497"/>
                  </a:lnTo>
                  <a:lnTo>
                    <a:pt x="1049074" y="994539"/>
                  </a:lnTo>
                  <a:lnTo>
                    <a:pt x="1054093" y="1043098"/>
                  </a:lnTo>
                  <a:lnTo>
                    <a:pt x="1056969" y="1093166"/>
                  </a:lnTo>
                  <a:lnTo>
                    <a:pt x="1057542" y="1144733"/>
                  </a:lnTo>
                  <a:lnTo>
                    <a:pt x="1055648" y="1197788"/>
                  </a:lnTo>
                  <a:lnTo>
                    <a:pt x="1051129" y="1252323"/>
                  </a:lnTo>
                  <a:lnTo>
                    <a:pt x="1420217" y="1252323"/>
                  </a:lnTo>
                  <a:lnTo>
                    <a:pt x="1422226" y="1230596"/>
                  </a:lnTo>
                  <a:lnTo>
                    <a:pt x="1425397" y="1155425"/>
                  </a:lnTo>
                  <a:lnTo>
                    <a:pt x="1424842" y="1082452"/>
                  </a:lnTo>
                  <a:lnTo>
                    <a:pt x="1420819" y="1011702"/>
                  </a:lnTo>
                  <a:lnTo>
                    <a:pt x="1413584" y="943204"/>
                  </a:lnTo>
                  <a:lnTo>
                    <a:pt x="1403395" y="876984"/>
                  </a:lnTo>
                  <a:lnTo>
                    <a:pt x="1390507" y="813069"/>
                  </a:lnTo>
                  <a:lnTo>
                    <a:pt x="1375179" y="751487"/>
                  </a:lnTo>
                  <a:lnTo>
                    <a:pt x="1357668" y="692264"/>
                  </a:lnTo>
                  <a:lnTo>
                    <a:pt x="1338229" y="635429"/>
                  </a:lnTo>
                  <a:lnTo>
                    <a:pt x="1317120" y="581007"/>
                  </a:lnTo>
                  <a:lnTo>
                    <a:pt x="1294599" y="529026"/>
                  </a:lnTo>
                  <a:lnTo>
                    <a:pt x="1270922" y="479514"/>
                  </a:lnTo>
                  <a:lnTo>
                    <a:pt x="1246346" y="432497"/>
                  </a:lnTo>
                  <a:lnTo>
                    <a:pt x="1221128" y="388002"/>
                  </a:lnTo>
                  <a:lnTo>
                    <a:pt x="1195525" y="346057"/>
                  </a:lnTo>
                  <a:lnTo>
                    <a:pt x="1169794" y="306688"/>
                  </a:lnTo>
                  <a:lnTo>
                    <a:pt x="1144192" y="269924"/>
                  </a:lnTo>
                  <a:lnTo>
                    <a:pt x="1118976" y="235790"/>
                  </a:lnTo>
                  <a:lnTo>
                    <a:pt x="1094403" y="204314"/>
                  </a:lnTo>
                  <a:lnTo>
                    <a:pt x="1048213" y="149446"/>
                  </a:lnTo>
                  <a:lnTo>
                    <a:pt x="1007678" y="105535"/>
                  </a:lnTo>
                  <a:lnTo>
                    <a:pt x="974854" y="72800"/>
                  </a:lnTo>
                  <a:lnTo>
                    <a:pt x="944574" y="45123"/>
                  </a:lnTo>
                  <a:lnTo>
                    <a:pt x="899031" y="15575"/>
                  </a:lnTo>
                  <a:lnTo>
                    <a:pt x="853709" y="1748"/>
                  </a:lnTo>
                  <a:lnTo>
                    <a:pt x="80701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0962" y="1882771"/>
            <a:ext cx="9449837" cy="365443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object 2">
            <a:extLst>
              <a:ext uri="{FF2B5EF4-FFF2-40B4-BE49-F238E27FC236}">
                <a16:creationId xmlns:a16="http://schemas.microsoft.com/office/drawing/2014/main" id="{1E71DD29-171C-AC64-D407-FC4002E4FF77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grpSp>
        <p:nvGrpSpPr>
          <p:cNvPr id="19" name="object 41">
            <a:extLst>
              <a:ext uri="{FF2B5EF4-FFF2-40B4-BE49-F238E27FC236}">
                <a16:creationId xmlns:a16="http://schemas.microsoft.com/office/drawing/2014/main" id="{D3D55305-5EEF-4519-5369-104B1F4E3A95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20" name="object 42">
              <a:extLst>
                <a:ext uri="{FF2B5EF4-FFF2-40B4-BE49-F238E27FC236}">
                  <a16:creationId xmlns:a16="http://schemas.microsoft.com/office/drawing/2014/main" id="{004FE9E2-06F6-4A96-D15A-FECCC4C5DAB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21" name="object 43">
              <a:extLst>
                <a:ext uri="{FF2B5EF4-FFF2-40B4-BE49-F238E27FC236}">
                  <a16:creationId xmlns:a16="http://schemas.microsoft.com/office/drawing/2014/main" id="{3BBA58DC-AD9C-9D0F-95C3-375863D9D6D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22" name="object 44">
              <a:extLst>
                <a:ext uri="{FF2B5EF4-FFF2-40B4-BE49-F238E27FC236}">
                  <a16:creationId xmlns:a16="http://schemas.microsoft.com/office/drawing/2014/main" id="{1547C639-E862-9341-7276-C92B10DF01C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BF5DFE7-BDF3-6D69-6A6E-554798BF3E63}"/>
              </a:ext>
            </a:extLst>
          </p:cNvPr>
          <p:cNvGrpSpPr/>
          <p:nvPr userDrawn="1"/>
        </p:nvGrpSpPr>
        <p:grpSpPr>
          <a:xfrm>
            <a:off x="9598" y="4391414"/>
            <a:ext cx="3729812" cy="2464571"/>
            <a:chOff x="9598" y="4391414"/>
            <a:chExt cx="3729812" cy="2464571"/>
          </a:xfrm>
        </p:grpSpPr>
        <p:sp>
          <p:nvSpPr>
            <p:cNvPr id="24" name="object 3">
              <a:extLst>
                <a:ext uri="{FF2B5EF4-FFF2-40B4-BE49-F238E27FC236}">
                  <a16:creationId xmlns:a16="http://schemas.microsoft.com/office/drawing/2014/main" id="{05189D43-E6DE-F1B9-7185-C7AF482E1AB9}"/>
                </a:ext>
              </a:extLst>
            </p:cNvPr>
            <p:cNvSpPr/>
            <p:nvPr/>
          </p:nvSpPr>
          <p:spPr>
            <a:xfrm>
              <a:off x="1102322" y="6790972"/>
              <a:ext cx="599427" cy="64492"/>
            </a:xfrm>
            <a:custGeom>
              <a:avLst/>
              <a:gdLst/>
              <a:ahLst/>
              <a:cxnLst/>
              <a:rect l="l" t="t" r="r" b="b"/>
              <a:pathLst>
                <a:path w="661035" h="71120">
                  <a:moveTo>
                    <a:pt x="547984" y="0"/>
                  </a:moveTo>
                  <a:lnTo>
                    <a:pt x="112463" y="0"/>
                  </a:lnTo>
                  <a:lnTo>
                    <a:pt x="63146" y="9955"/>
                  </a:lnTo>
                  <a:lnTo>
                    <a:pt x="22888" y="37104"/>
                  </a:lnTo>
                  <a:lnTo>
                    <a:pt x="0" y="71071"/>
                  </a:lnTo>
                  <a:lnTo>
                    <a:pt x="660448" y="71071"/>
                  </a:lnTo>
                  <a:lnTo>
                    <a:pt x="637559" y="37104"/>
                  </a:lnTo>
                  <a:lnTo>
                    <a:pt x="597301" y="9955"/>
                  </a:lnTo>
                  <a:lnTo>
                    <a:pt x="54798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4">
              <a:extLst>
                <a:ext uri="{FF2B5EF4-FFF2-40B4-BE49-F238E27FC236}">
                  <a16:creationId xmlns:a16="http://schemas.microsoft.com/office/drawing/2014/main" id="{03632994-6FB1-4866-12D1-70791A0A3391}"/>
                </a:ext>
              </a:extLst>
            </p:cNvPr>
            <p:cNvSpPr/>
            <p:nvPr/>
          </p:nvSpPr>
          <p:spPr>
            <a:xfrm>
              <a:off x="1847987" y="6161548"/>
              <a:ext cx="770445" cy="694437"/>
            </a:xfrm>
            <a:custGeom>
              <a:avLst/>
              <a:gdLst/>
              <a:ahLst/>
              <a:cxnLst/>
              <a:rect l="l" t="t" r="r" b="b"/>
              <a:pathLst>
                <a:path w="849630" h="765809">
                  <a:moveTo>
                    <a:pt x="277797" y="0"/>
                  </a:moveTo>
                  <a:lnTo>
                    <a:pt x="232138" y="10089"/>
                  </a:lnTo>
                  <a:lnTo>
                    <a:pt x="189939" y="31774"/>
                  </a:lnTo>
                  <a:lnTo>
                    <a:pt x="153625" y="64816"/>
                  </a:lnTo>
                  <a:lnTo>
                    <a:pt x="127301" y="106257"/>
                  </a:lnTo>
                  <a:lnTo>
                    <a:pt x="113256" y="151637"/>
                  </a:lnTo>
                  <a:lnTo>
                    <a:pt x="111269" y="198494"/>
                  </a:lnTo>
                  <a:lnTo>
                    <a:pt x="121117" y="244368"/>
                  </a:lnTo>
                  <a:lnTo>
                    <a:pt x="142578" y="286798"/>
                  </a:lnTo>
                  <a:lnTo>
                    <a:pt x="175431" y="323324"/>
                  </a:lnTo>
                  <a:lnTo>
                    <a:pt x="183761" y="330740"/>
                  </a:lnTo>
                  <a:lnTo>
                    <a:pt x="200872" y="347032"/>
                  </a:lnTo>
                  <a:lnTo>
                    <a:pt x="255253" y="405507"/>
                  </a:lnTo>
                  <a:lnTo>
                    <a:pt x="289431" y="447320"/>
                  </a:lnTo>
                  <a:lnTo>
                    <a:pt x="326206" y="497272"/>
                  </a:lnTo>
                  <a:lnTo>
                    <a:pt x="364033" y="555177"/>
                  </a:lnTo>
                  <a:lnTo>
                    <a:pt x="401365" y="620853"/>
                  </a:lnTo>
                  <a:lnTo>
                    <a:pt x="436657" y="694113"/>
                  </a:lnTo>
                  <a:lnTo>
                    <a:pt x="112464" y="694113"/>
                  </a:lnTo>
                  <a:lnTo>
                    <a:pt x="63147" y="704069"/>
                  </a:lnTo>
                  <a:lnTo>
                    <a:pt x="22889" y="731218"/>
                  </a:lnTo>
                  <a:lnTo>
                    <a:pt x="0" y="765186"/>
                  </a:lnTo>
                  <a:lnTo>
                    <a:pt x="849346" y="765186"/>
                  </a:lnTo>
                  <a:lnTo>
                    <a:pt x="828420" y="692250"/>
                  </a:lnTo>
                  <a:lnTo>
                    <a:pt x="808980" y="635413"/>
                  </a:lnTo>
                  <a:lnTo>
                    <a:pt x="787871" y="580991"/>
                  </a:lnTo>
                  <a:lnTo>
                    <a:pt x="765348" y="529010"/>
                  </a:lnTo>
                  <a:lnTo>
                    <a:pt x="741670" y="479497"/>
                  </a:lnTo>
                  <a:lnTo>
                    <a:pt x="717092" y="432480"/>
                  </a:lnTo>
                  <a:lnTo>
                    <a:pt x="691873" y="387985"/>
                  </a:lnTo>
                  <a:lnTo>
                    <a:pt x="666269" y="346039"/>
                  </a:lnTo>
                  <a:lnTo>
                    <a:pt x="640536" y="306670"/>
                  </a:lnTo>
                  <a:lnTo>
                    <a:pt x="614933" y="269906"/>
                  </a:lnTo>
                  <a:lnTo>
                    <a:pt x="589716" y="235772"/>
                  </a:lnTo>
                  <a:lnTo>
                    <a:pt x="565141" y="204296"/>
                  </a:lnTo>
                  <a:lnTo>
                    <a:pt x="518949" y="149427"/>
                  </a:lnTo>
                  <a:lnTo>
                    <a:pt x="478413" y="105516"/>
                  </a:lnTo>
                  <a:lnTo>
                    <a:pt x="445588" y="72781"/>
                  </a:lnTo>
                  <a:lnTo>
                    <a:pt x="411295" y="41702"/>
                  </a:lnTo>
                  <a:lnTo>
                    <a:pt x="369801" y="15566"/>
                  </a:lnTo>
                  <a:lnTo>
                    <a:pt x="324493" y="1745"/>
                  </a:lnTo>
                  <a:lnTo>
                    <a:pt x="277797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5">
              <a:extLst>
                <a:ext uri="{FF2B5EF4-FFF2-40B4-BE49-F238E27FC236}">
                  <a16:creationId xmlns:a16="http://schemas.microsoft.com/office/drawing/2014/main" id="{89FA4661-031D-0FFD-D9B6-73BD0EA8BA0C}"/>
                </a:ext>
              </a:extLst>
            </p:cNvPr>
            <p:cNvSpPr/>
            <p:nvPr/>
          </p:nvSpPr>
          <p:spPr>
            <a:xfrm>
              <a:off x="1441820" y="60058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6">
              <a:extLst>
                <a:ext uri="{FF2B5EF4-FFF2-40B4-BE49-F238E27FC236}">
                  <a16:creationId xmlns:a16="http://schemas.microsoft.com/office/drawing/2014/main" id="{F8BDD441-524C-85B8-E30A-8D6BB7135B33}"/>
                </a:ext>
              </a:extLst>
            </p:cNvPr>
            <p:cNvSpPr/>
            <p:nvPr/>
          </p:nvSpPr>
          <p:spPr>
            <a:xfrm>
              <a:off x="2512448" y="5841762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7">
              <a:extLst>
                <a:ext uri="{FF2B5EF4-FFF2-40B4-BE49-F238E27FC236}">
                  <a16:creationId xmlns:a16="http://schemas.microsoft.com/office/drawing/2014/main" id="{511C8D0F-3DC4-9AC5-D5CE-13B0C3706FDB}"/>
                </a:ext>
              </a:extLst>
            </p:cNvPr>
            <p:cNvSpPr/>
            <p:nvPr/>
          </p:nvSpPr>
          <p:spPr>
            <a:xfrm>
              <a:off x="2387729" y="5241019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8">
              <a:extLst>
                <a:ext uri="{FF2B5EF4-FFF2-40B4-BE49-F238E27FC236}">
                  <a16:creationId xmlns:a16="http://schemas.microsoft.com/office/drawing/2014/main" id="{787BE090-58E7-46C7-F21A-3A54D21ADC48}"/>
                </a:ext>
              </a:extLst>
            </p:cNvPr>
            <p:cNvSpPr/>
            <p:nvPr/>
          </p:nvSpPr>
          <p:spPr>
            <a:xfrm>
              <a:off x="1721136" y="53838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9">
              <a:extLst>
                <a:ext uri="{FF2B5EF4-FFF2-40B4-BE49-F238E27FC236}">
                  <a16:creationId xmlns:a16="http://schemas.microsoft.com/office/drawing/2014/main" id="{D0A9F926-AFBA-DB9A-0399-D5C55D405075}"/>
                </a:ext>
              </a:extLst>
            </p:cNvPr>
            <p:cNvSpPr/>
            <p:nvPr/>
          </p:nvSpPr>
          <p:spPr>
            <a:xfrm>
              <a:off x="3097372" y="6327434"/>
              <a:ext cx="642038" cy="528026"/>
            </a:xfrm>
            <a:custGeom>
              <a:avLst/>
              <a:gdLst/>
              <a:ahLst/>
              <a:cxnLst/>
              <a:rect l="l" t="t" r="r" b="b"/>
              <a:pathLst>
                <a:path w="708025" h="58229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76190" y="582253"/>
                  </a:lnTo>
                  <a:lnTo>
                    <a:pt x="631605" y="582253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0">
              <a:extLst>
                <a:ext uri="{FF2B5EF4-FFF2-40B4-BE49-F238E27FC236}">
                  <a16:creationId xmlns:a16="http://schemas.microsoft.com/office/drawing/2014/main" id="{5B7F30CB-8C1F-B47A-E7E6-D5565E686E65}"/>
                </a:ext>
              </a:extLst>
            </p:cNvPr>
            <p:cNvSpPr/>
            <p:nvPr/>
          </p:nvSpPr>
          <p:spPr>
            <a:xfrm>
              <a:off x="1504163" y="45407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11">
              <a:extLst>
                <a:ext uri="{FF2B5EF4-FFF2-40B4-BE49-F238E27FC236}">
                  <a16:creationId xmlns:a16="http://schemas.microsoft.com/office/drawing/2014/main" id="{03ACDEBC-B2E9-94ED-72ED-329285DD8A56}"/>
                </a:ext>
              </a:extLst>
            </p:cNvPr>
            <p:cNvSpPr/>
            <p:nvPr/>
          </p:nvSpPr>
          <p:spPr>
            <a:xfrm>
              <a:off x="9598" y="4391414"/>
              <a:ext cx="1292713" cy="2464504"/>
            </a:xfrm>
            <a:custGeom>
              <a:avLst/>
              <a:gdLst/>
              <a:ahLst/>
              <a:cxnLst/>
              <a:rect l="l" t="t" r="r" b="b"/>
              <a:pathLst>
                <a:path w="1425575" h="2717800">
                  <a:moveTo>
                    <a:pt x="1036905" y="1250138"/>
                  </a:moveTo>
                  <a:lnTo>
                    <a:pt x="7697" y="1250138"/>
                  </a:lnTo>
                  <a:lnTo>
                    <a:pt x="0" y="1251693"/>
                  </a:lnTo>
                  <a:lnTo>
                    <a:pt x="0" y="1501962"/>
                  </a:lnTo>
                  <a:lnTo>
                    <a:pt x="7697" y="1503516"/>
                  </a:lnTo>
                  <a:lnTo>
                    <a:pt x="990626" y="1503516"/>
                  </a:lnTo>
                  <a:lnTo>
                    <a:pt x="972652" y="1549292"/>
                  </a:lnTo>
                  <a:lnTo>
                    <a:pt x="952724" y="1595118"/>
                  </a:lnTo>
                  <a:lnTo>
                    <a:pt x="930908" y="1640986"/>
                  </a:lnTo>
                  <a:lnTo>
                    <a:pt x="907270" y="1686883"/>
                  </a:lnTo>
                  <a:lnTo>
                    <a:pt x="881874" y="1732802"/>
                  </a:lnTo>
                  <a:lnTo>
                    <a:pt x="854786" y="1778731"/>
                  </a:lnTo>
                  <a:lnTo>
                    <a:pt x="826072" y="1824661"/>
                  </a:lnTo>
                  <a:lnTo>
                    <a:pt x="63298" y="1824661"/>
                  </a:lnTo>
                  <a:lnTo>
                    <a:pt x="13987" y="1834618"/>
                  </a:lnTo>
                  <a:lnTo>
                    <a:pt x="0" y="1844050"/>
                  </a:lnTo>
                  <a:lnTo>
                    <a:pt x="0" y="2058640"/>
                  </a:lnTo>
                  <a:lnTo>
                    <a:pt x="13987" y="2068070"/>
                  </a:lnTo>
                  <a:lnTo>
                    <a:pt x="63298" y="2078026"/>
                  </a:lnTo>
                  <a:lnTo>
                    <a:pt x="641478" y="2078026"/>
                  </a:lnTo>
                  <a:lnTo>
                    <a:pt x="610598" y="2115724"/>
                  </a:lnTo>
                  <a:lnTo>
                    <a:pt x="578977" y="2153368"/>
                  </a:lnTo>
                  <a:lnTo>
                    <a:pt x="546654" y="2190951"/>
                  </a:lnTo>
                  <a:lnTo>
                    <a:pt x="513670" y="2228468"/>
                  </a:lnTo>
                  <a:lnTo>
                    <a:pt x="480063" y="2265912"/>
                  </a:lnTo>
                  <a:lnTo>
                    <a:pt x="445873" y="2303278"/>
                  </a:lnTo>
                  <a:lnTo>
                    <a:pt x="411141" y="2340559"/>
                  </a:lnTo>
                  <a:lnTo>
                    <a:pt x="375907" y="2377749"/>
                  </a:lnTo>
                  <a:lnTo>
                    <a:pt x="340209" y="2414843"/>
                  </a:lnTo>
                  <a:lnTo>
                    <a:pt x="304089" y="2451835"/>
                  </a:lnTo>
                  <a:lnTo>
                    <a:pt x="267585" y="2488718"/>
                  </a:lnTo>
                  <a:lnTo>
                    <a:pt x="230738" y="2525486"/>
                  </a:lnTo>
                  <a:lnTo>
                    <a:pt x="193588" y="2562134"/>
                  </a:lnTo>
                  <a:lnTo>
                    <a:pt x="118536" y="2635044"/>
                  </a:lnTo>
                  <a:lnTo>
                    <a:pt x="32318" y="2717250"/>
                  </a:lnTo>
                  <a:lnTo>
                    <a:pt x="559514" y="2717250"/>
                  </a:lnTo>
                  <a:lnTo>
                    <a:pt x="608152" y="2667742"/>
                  </a:lnTo>
                  <a:lnTo>
                    <a:pt x="644609" y="2629983"/>
                  </a:lnTo>
                  <a:lnTo>
                    <a:pt x="680613" y="2592122"/>
                  </a:lnTo>
                  <a:lnTo>
                    <a:pt x="716134" y="2554156"/>
                  </a:lnTo>
                  <a:lnTo>
                    <a:pt x="751143" y="2516081"/>
                  </a:lnTo>
                  <a:lnTo>
                    <a:pt x="785608" y="2477894"/>
                  </a:lnTo>
                  <a:lnTo>
                    <a:pt x="819502" y="2439592"/>
                  </a:lnTo>
                  <a:lnTo>
                    <a:pt x="852793" y="2401172"/>
                  </a:lnTo>
                  <a:lnTo>
                    <a:pt x="885453" y="2362631"/>
                  </a:lnTo>
                  <a:lnTo>
                    <a:pt x="917450" y="2323966"/>
                  </a:lnTo>
                  <a:lnTo>
                    <a:pt x="948756" y="2285174"/>
                  </a:lnTo>
                  <a:lnTo>
                    <a:pt x="979341" y="2246251"/>
                  </a:lnTo>
                  <a:lnTo>
                    <a:pt x="1009174" y="2207195"/>
                  </a:lnTo>
                  <a:lnTo>
                    <a:pt x="1038226" y="2168003"/>
                  </a:lnTo>
                  <a:lnTo>
                    <a:pt x="1066467" y="2128671"/>
                  </a:lnTo>
                  <a:lnTo>
                    <a:pt x="1093868" y="2089196"/>
                  </a:lnTo>
                  <a:lnTo>
                    <a:pt x="1120397" y="2049575"/>
                  </a:lnTo>
                  <a:lnTo>
                    <a:pt x="1146027" y="2009806"/>
                  </a:lnTo>
                  <a:lnTo>
                    <a:pt x="1170726" y="1969884"/>
                  </a:lnTo>
                  <a:lnTo>
                    <a:pt x="1194466" y="1929807"/>
                  </a:lnTo>
                  <a:lnTo>
                    <a:pt x="1217215" y="1889572"/>
                  </a:lnTo>
                  <a:lnTo>
                    <a:pt x="1238945" y="1849176"/>
                  </a:lnTo>
                  <a:lnTo>
                    <a:pt x="1259625" y="1808615"/>
                  </a:lnTo>
                  <a:lnTo>
                    <a:pt x="1279226" y="1767887"/>
                  </a:lnTo>
                  <a:lnTo>
                    <a:pt x="1297718" y="1726988"/>
                  </a:lnTo>
                  <a:lnTo>
                    <a:pt x="1315070" y="1685916"/>
                  </a:lnTo>
                  <a:lnTo>
                    <a:pt x="1331255" y="1644667"/>
                  </a:lnTo>
                  <a:lnTo>
                    <a:pt x="1346240" y="1603237"/>
                  </a:lnTo>
                  <a:lnTo>
                    <a:pt x="1359997" y="1561625"/>
                  </a:lnTo>
                  <a:lnTo>
                    <a:pt x="1372496" y="1519827"/>
                  </a:lnTo>
                  <a:lnTo>
                    <a:pt x="1383707" y="1477840"/>
                  </a:lnTo>
                  <a:lnTo>
                    <a:pt x="1393600" y="1435660"/>
                  </a:lnTo>
                  <a:lnTo>
                    <a:pt x="1402145" y="1393285"/>
                  </a:lnTo>
                  <a:lnTo>
                    <a:pt x="1409313" y="1350711"/>
                  </a:lnTo>
                  <a:lnTo>
                    <a:pt x="1415073" y="1307936"/>
                  </a:lnTo>
                  <a:lnTo>
                    <a:pt x="1420217" y="1252323"/>
                  </a:lnTo>
                  <a:lnTo>
                    <a:pt x="1051129" y="1252323"/>
                  </a:lnTo>
                  <a:lnTo>
                    <a:pt x="1044068" y="1251103"/>
                  </a:lnTo>
                  <a:lnTo>
                    <a:pt x="1036905" y="1250138"/>
                  </a:lnTo>
                  <a:close/>
                </a:path>
                <a:path w="1425575" h="2717800">
                  <a:moveTo>
                    <a:pt x="807014" y="0"/>
                  </a:moveTo>
                  <a:lnTo>
                    <a:pt x="761364" y="10091"/>
                  </a:lnTo>
                  <a:lnTo>
                    <a:pt x="719176" y="31783"/>
                  </a:lnTo>
                  <a:lnTo>
                    <a:pt x="682867" y="64835"/>
                  </a:lnTo>
                  <a:lnTo>
                    <a:pt x="656535" y="106276"/>
                  </a:lnTo>
                  <a:lnTo>
                    <a:pt x="642490" y="151656"/>
                  </a:lnTo>
                  <a:lnTo>
                    <a:pt x="640506" y="198513"/>
                  </a:lnTo>
                  <a:lnTo>
                    <a:pt x="650359" y="244387"/>
                  </a:lnTo>
                  <a:lnTo>
                    <a:pt x="671823" y="286817"/>
                  </a:lnTo>
                  <a:lnTo>
                    <a:pt x="704673" y="323343"/>
                  </a:lnTo>
                  <a:lnTo>
                    <a:pt x="713003" y="330759"/>
                  </a:lnTo>
                  <a:lnTo>
                    <a:pt x="730114" y="347051"/>
                  </a:lnTo>
                  <a:lnTo>
                    <a:pt x="784494" y="405526"/>
                  </a:lnTo>
                  <a:lnTo>
                    <a:pt x="818671" y="447339"/>
                  </a:lnTo>
                  <a:lnTo>
                    <a:pt x="855445" y="497291"/>
                  </a:lnTo>
                  <a:lnTo>
                    <a:pt x="893269" y="555196"/>
                  </a:lnTo>
                  <a:lnTo>
                    <a:pt x="930598" y="620872"/>
                  </a:lnTo>
                  <a:lnTo>
                    <a:pt x="965887" y="694132"/>
                  </a:lnTo>
                  <a:lnTo>
                    <a:pt x="394272" y="694132"/>
                  </a:lnTo>
                  <a:lnTo>
                    <a:pt x="344967" y="704088"/>
                  </a:lnTo>
                  <a:lnTo>
                    <a:pt x="304699" y="731237"/>
                  </a:lnTo>
                  <a:lnTo>
                    <a:pt x="277547" y="771504"/>
                  </a:lnTo>
                  <a:lnTo>
                    <a:pt x="267590" y="820815"/>
                  </a:lnTo>
                  <a:lnTo>
                    <a:pt x="277547" y="870120"/>
                  </a:lnTo>
                  <a:lnTo>
                    <a:pt x="304699" y="910388"/>
                  </a:lnTo>
                  <a:lnTo>
                    <a:pt x="344967" y="937540"/>
                  </a:lnTo>
                  <a:lnTo>
                    <a:pt x="394272" y="947497"/>
                  </a:lnTo>
                  <a:lnTo>
                    <a:pt x="1042074" y="947497"/>
                  </a:lnTo>
                  <a:lnTo>
                    <a:pt x="1049074" y="994539"/>
                  </a:lnTo>
                  <a:lnTo>
                    <a:pt x="1054093" y="1043098"/>
                  </a:lnTo>
                  <a:lnTo>
                    <a:pt x="1056969" y="1093166"/>
                  </a:lnTo>
                  <a:lnTo>
                    <a:pt x="1057542" y="1144733"/>
                  </a:lnTo>
                  <a:lnTo>
                    <a:pt x="1055648" y="1197788"/>
                  </a:lnTo>
                  <a:lnTo>
                    <a:pt x="1051129" y="1252323"/>
                  </a:lnTo>
                  <a:lnTo>
                    <a:pt x="1420217" y="1252323"/>
                  </a:lnTo>
                  <a:lnTo>
                    <a:pt x="1422226" y="1230596"/>
                  </a:lnTo>
                  <a:lnTo>
                    <a:pt x="1425397" y="1155425"/>
                  </a:lnTo>
                  <a:lnTo>
                    <a:pt x="1424842" y="1082452"/>
                  </a:lnTo>
                  <a:lnTo>
                    <a:pt x="1420819" y="1011702"/>
                  </a:lnTo>
                  <a:lnTo>
                    <a:pt x="1413584" y="943204"/>
                  </a:lnTo>
                  <a:lnTo>
                    <a:pt x="1403395" y="876984"/>
                  </a:lnTo>
                  <a:lnTo>
                    <a:pt x="1390507" y="813069"/>
                  </a:lnTo>
                  <a:lnTo>
                    <a:pt x="1375179" y="751487"/>
                  </a:lnTo>
                  <a:lnTo>
                    <a:pt x="1357668" y="692264"/>
                  </a:lnTo>
                  <a:lnTo>
                    <a:pt x="1338229" y="635429"/>
                  </a:lnTo>
                  <a:lnTo>
                    <a:pt x="1317120" y="581007"/>
                  </a:lnTo>
                  <a:lnTo>
                    <a:pt x="1294599" y="529026"/>
                  </a:lnTo>
                  <a:lnTo>
                    <a:pt x="1270922" y="479514"/>
                  </a:lnTo>
                  <a:lnTo>
                    <a:pt x="1246346" y="432497"/>
                  </a:lnTo>
                  <a:lnTo>
                    <a:pt x="1221128" y="388002"/>
                  </a:lnTo>
                  <a:lnTo>
                    <a:pt x="1195525" y="346057"/>
                  </a:lnTo>
                  <a:lnTo>
                    <a:pt x="1169794" y="306688"/>
                  </a:lnTo>
                  <a:lnTo>
                    <a:pt x="1144192" y="269924"/>
                  </a:lnTo>
                  <a:lnTo>
                    <a:pt x="1118976" y="235790"/>
                  </a:lnTo>
                  <a:lnTo>
                    <a:pt x="1094403" y="204314"/>
                  </a:lnTo>
                  <a:lnTo>
                    <a:pt x="1048213" y="149446"/>
                  </a:lnTo>
                  <a:lnTo>
                    <a:pt x="1007678" y="105535"/>
                  </a:lnTo>
                  <a:lnTo>
                    <a:pt x="974854" y="72800"/>
                  </a:lnTo>
                  <a:lnTo>
                    <a:pt x="944574" y="45123"/>
                  </a:lnTo>
                  <a:lnTo>
                    <a:pt x="899031" y="15575"/>
                  </a:lnTo>
                  <a:lnTo>
                    <a:pt x="853709" y="1748"/>
                  </a:lnTo>
                  <a:lnTo>
                    <a:pt x="80701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5256118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0724100" y="6405519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3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20B4B95D-64D5-9E5B-BAC5-0B7670771DF2}"/>
              </a:ext>
            </a:extLst>
          </p:cNvPr>
          <p:cNvSpPr/>
          <p:nvPr/>
        </p:nvSpPr>
        <p:spPr>
          <a:xfrm>
            <a:off x="9598" y="0"/>
            <a:ext cx="3603472" cy="4812692"/>
          </a:xfrm>
          <a:custGeom>
            <a:avLst/>
            <a:gdLst/>
            <a:ahLst/>
            <a:cxnLst/>
            <a:rect l="l" t="t" r="r" b="b"/>
            <a:pathLst>
              <a:path w="3973829" h="5307330">
                <a:moveTo>
                  <a:pt x="71374" y="1940839"/>
                </a:moveTo>
                <a:lnTo>
                  <a:pt x="65620" y="1897291"/>
                </a:lnTo>
                <a:lnTo>
                  <a:pt x="49364" y="1858149"/>
                </a:lnTo>
                <a:lnTo>
                  <a:pt x="24168" y="1824990"/>
                </a:lnTo>
                <a:lnTo>
                  <a:pt x="0" y="1806016"/>
                </a:lnTo>
                <a:lnTo>
                  <a:pt x="0" y="2075662"/>
                </a:lnTo>
                <a:lnTo>
                  <a:pt x="24168" y="2056688"/>
                </a:lnTo>
                <a:lnTo>
                  <a:pt x="49364" y="2023529"/>
                </a:lnTo>
                <a:lnTo>
                  <a:pt x="65620" y="1984387"/>
                </a:lnTo>
                <a:lnTo>
                  <a:pt x="71374" y="1940839"/>
                </a:lnTo>
                <a:close/>
              </a:path>
              <a:path w="3973829" h="5307330">
                <a:moveTo>
                  <a:pt x="184327" y="5114302"/>
                </a:moveTo>
                <a:lnTo>
                  <a:pt x="176174" y="5068062"/>
                </a:lnTo>
                <a:lnTo>
                  <a:pt x="156235" y="5024856"/>
                </a:lnTo>
                <a:lnTo>
                  <a:pt x="124650" y="4987137"/>
                </a:lnTo>
                <a:lnTo>
                  <a:pt x="116395" y="4979378"/>
                </a:lnTo>
                <a:lnTo>
                  <a:pt x="100291" y="4963541"/>
                </a:lnTo>
                <a:lnTo>
                  <a:pt x="77470" y="4939919"/>
                </a:lnTo>
                <a:lnTo>
                  <a:pt x="49022" y="4908791"/>
                </a:lnTo>
                <a:lnTo>
                  <a:pt x="16103" y="4870462"/>
                </a:lnTo>
                <a:lnTo>
                  <a:pt x="0" y="4850384"/>
                </a:lnTo>
                <a:lnTo>
                  <a:pt x="0" y="5306657"/>
                </a:lnTo>
                <a:lnTo>
                  <a:pt x="38061" y="5302923"/>
                </a:lnTo>
                <a:lnTo>
                  <a:pt x="107365" y="5272710"/>
                </a:lnTo>
                <a:lnTo>
                  <a:pt x="136918" y="5246446"/>
                </a:lnTo>
                <a:lnTo>
                  <a:pt x="164833" y="5205958"/>
                </a:lnTo>
                <a:lnTo>
                  <a:pt x="180594" y="5161089"/>
                </a:lnTo>
                <a:lnTo>
                  <a:pt x="184327" y="5114302"/>
                </a:lnTo>
                <a:close/>
              </a:path>
              <a:path w="3973829" h="5307330">
                <a:moveTo>
                  <a:pt x="293878" y="645617"/>
                </a:moveTo>
                <a:lnTo>
                  <a:pt x="285864" y="595109"/>
                </a:lnTo>
                <a:lnTo>
                  <a:pt x="263537" y="551243"/>
                </a:lnTo>
                <a:lnTo>
                  <a:pt x="229501" y="516661"/>
                </a:lnTo>
                <a:lnTo>
                  <a:pt x="186334" y="493979"/>
                </a:lnTo>
                <a:lnTo>
                  <a:pt x="136639" y="485825"/>
                </a:lnTo>
                <a:lnTo>
                  <a:pt x="86944" y="493979"/>
                </a:lnTo>
                <a:lnTo>
                  <a:pt x="43776" y="516661"/>
                </a:lnTo>
                <a:lnTo>
                  <a:pt x="9740" y="551243"/>
                </a:lnTo>
                <a:lnTo>
                  <a:pt x="0" y="570395"/>
                </a:lnTo>
                <a:lnTo>
                  <a:pt x="0" y="720839"/>
                </a:lnTo>
                <a:lnTo>
                  <a:pt x="9740" y="739990"/>
                </a:lnTo>
                <a:lnTo>
                  <a:pt x="43776" y="774585"/>
                </a:lnTo>
                <a:lnTo>
                  <a:pt x="86944" y="797267"/>
                </a:lnTo>
                <a:lnTo>
                  <a:pt x="136639" y="805408"/>
                </a:lnTo>
                <a:lnTo>
                  <a:pt x="186334" y="797267"/>
                </a:lnTo>
                <a:lnTo>
                  <a:pt x="229501" y="774585"/>
                </a:lnTo>
                <a:lnTo>
                  <a:pt x="263537" y="739990"/>
                </a:lnTo>
                <a:lnTo>
                  <a:pt x="285864" y="696125"/>
                </a:lnTo>
                <a:lnTo>
                  <a:pt x="293878" y="645617"/>
                </a:lnTo>
                <a:close/>
              </a:path>
              <a:path w="3973829" h="5307330">
                <a:moveTo>
                  <a:pt x="503135" y="1213459"/>
                </a:moveTo>
                <a:lnTo>
                  <a:pt x="498081" y="1168908"/>
                </a:lnTo>
                <a:lnTo>
                  <a:pt x="483692" y="1128014"/>
                </a:lnTo>
                <a:lnTo>
                  <a:pt x="461124" y="1091933"/>
                </a:lnTo>
                <a:lnTo>
                  <a:pt x="431520" y="1061834"/>
                </a:lnTo>
                <a:lnTo>
                  <a:pt x="396011" y="1038898"/>
                </a:lnTo>
                <a:lnTo>
                  <a:pt x="355777" y="1024280"/>
                </a:lnTo>
                <a:lnTo>
                  <a:pt x="311937" y="1019149"/>
                </a:lnTo>
                <a:lnTo>
                  <a:pt x="268097" y="1024280"/>
                </a:lnTo>
                <a:lnTo>
                  <a:pt x="227850" y="1038898"/>
                </a:lnTo>
                <a:lnTo>
                  <a:pt x="192354" y="1061834"/>
                </a:lnTo>
                <a:lnTo>
                  <a:pt x="162737" y="1091933"/>
                </a:lnTo>
                <a:lnTo>
                  <a:pt x="140169" y="1128014"/>
                </a:lnTo>
                <a:lnTo>
                  <a:pt x="125780" y="1168908"/>
                </a:lnTo>
                <a:lnTo>
                  <a:pt x="120738" y="1213459"/>
                </a:lnTo>
                <a:lnTo>
                  <a:pt x="125780" y="1258011"/>
                </a:lnTo>
                <a:lnTo>
                  <a:pt x="140169" y="1298917"/>
                </a:lnTo>
                <a:lnTo>
                  <a:pt x="162737" y="1334985"/>
                </a:lnTo>
                <a:lnTo>
                  <a:pt x="192354" y="1365084"/>
                </a:lnTo>
                <a:lnTo>
                  <a:pt x="227850" y="1388021"/>
                </a:lnTo>
                <a:lnTo>
                  <a:pt x="268097" y="1402638"/>
                </a:lnTo>
                <a:lnTo>
                  <a:pt x="311937" y="1407769"/>
                </a:lnTo>
                <a:lnTo>
                  <a:pt x="355777" y="1402638"/>
                </a:lnTo>
                <a:lnTo>
                  <a:pt x="396011" y="1388021"/>
                </a:lnTo>
                <a:lnTo>
                  <a:pt x="431520" y="1365084"/>
                </a:lnTo>
                <a:lnTo>
                  <a:pt x="461124" y="1334985"/>
                </a:lnTo>
                <a:lnTo>
                  <a:pt x="483692" y="1298917"/>
                </a:lnTo>
                <a:lnTo>
                  <a:pt x="498081" y="1258011"/>
                </a:lnTo>
                <a:lnTo>
                  <a:pt x="503135" y="1213459"/>
                </a:lnTo>
                <a:close/>
              </a:path>
              <a:path w="3973829" h="5307330">
                <a:moveTo>
                  <a:pt x="545719" y="4454322"/>
                </a:moveTo>
                <a:lnTo>
                  <a:pt x="535774" y="4405007"/>
                </a:lnTo>
                <a:lnTo>
                  <a:pt x="508635" y="4364736"/>
                </a:lnTo>
                <a:lnTo>
                  <a:pt x="468376" y="4337596"/>
                </a:lnTo>
                <a:lnTo>
                  <a:pt x="419061" y="4327639"/>
                </a:lnTo>
                <a:lnTo>
                  <a:pt x="0" y="4327639"/>
                </a:lnTo>
                <a:lnTo>
                  <a:pt x="0" y="4581004"/>
                </a:lnTo>
                <a:lnTo>
                  <a:pt x="419061" y="4581004"/>
                </a:lnTo>
                <a:lnTo>
                  <a:pt x="468376" y="4571047"/>
                </a:lnTo>
                <a:lnTo>
                  <a:pt x="508635" y="4543895"/>
                </a:lnTo>
                <a:lnTo>
                  <a:pt x="535774" y="4503623"/>
                </a:lnTo>
                <a:lnTo>
                  <a:pt x="545719" y="4454322"/>
                </a:lnTo>
                <a:close/>
              </a:path>
              <a:path w="3973829" h="5307330">
                <a:moveTo>
                  <a:pt x="929068" y="3906012"/>
                </a:moveTo>
                <a:lnTo>
                  <a:pt x="919124" y="3856710"/>
                </a:lnTo>
                <a:lnTo>
                  <a:pt x="891984" y="3816439"/>
                </a:lnTo>
                <a:lnTo>
                  <a:pt x="851725" y="3789286"/>
                </a:lnTo>
                <a:lnTo>
                  <a:pt x="802411" y="3779329"/>
                </a:lnTo>
                <a:lnTo>
                  <a:pt x="0" y="3779329"/>
                </a:lnTo>
                <a:lnTo>
                  <a:pt x="0" y="4032694"/>
                </a:lnTo>
                <a:lnTo>
                  <a:pt x="802411" y="4032694"/>
                </a:lnTo>
                <a:lnTo>
                  <a:pt x="851725" y="4022737"/>
                </a:lnTo>
                <a:lnTo>
                  <a:pt x="891984" y="3995585"/>
                </a:lnTo>
                <a:lnTo>
                  <a:pt x="919124" y="3955326"/>
                </a:lnTo>
                <a:lnTo>
                  <a:pt x="929068" y="3906012"/>
                </a:lnTo>
                <a:close/>
              </a:path>
              <a:path w="3973829" h="5307330">
                <a:moveTo>
                  <a:pt x="1123670" y="73621"/>
                </a:moveTo>
                <a:lnTo>
                  <a:pt x="1113713" y="24307"/>
                </a:lnTo>
                <a:lnTo>
                  <a:pt x="1097343" y="0"/>
                </a:lnTo>
                <a:lnTo>
                  <a:pt x="461149" y="0"/>
                </a:lnTo>
                <a:lnTo>
                  <a:pt x="444779" y="24307"/>
                </a:lnTo>
                <a:lnTo>
                  <a:pt x="434835" y="73621"/>
                </a:lnTo>
                <a:lnTo>
                  <a:pt x="444779" y="122936"/>
                </a:lnTo>
                <a:lnTo>
                  <a:pt x="471906" y="163195"/>
                </a:lnTo>
                <a:lnTo>
                  <a:pt x="512165" y="190347"/>
                </a:lnTo>
                <a:lnTo>
                  <a:pt x="561492" y="200304"/>
                </a:lnTo>
                <a:lnTo>
                  <a:pt x="997013" y="200304"/>
                </a:lnTo>
                <a:lnTo>
                  <a:pt x="1046327" y="190347"/>
                </a:lnTo>
                <a:lnTo>
                  <a:pt x="1086586" y="163195"/>
                </a:lnTo>
                <a:lnTo>
                  <a:pt x="1113713" y="122936"/>
                </a:lnTo>
                <a:lnTo>
                  <a:pt x="1123670" y="73621"/>
                </a:lnTo>
                <a:close/>
              </a:path>
              <a:path w="3973829" h="5307330">
                <a:moveTo>
                  <a:pt x="1418945" y="3321431"/>
                </a:moveTo>
                <a:lnTo>
                  <a:pt x="1413903" y="3276879"/>
                </a:lnTo>
                <a:lnTo>
                  <a:pt x="1399514" y="3235972"/>
                </a:lnTo>
                <a:lnTo>
                  <a:pt x="1376946" y="3199904"/>
                </a:lnTo>
                <a:lnTo>
                  <a:pt x="1347343" y="3169805"/>
                </a:lnTo>
                <a:lnTo>
                  <a:pt x="1311833" y="3146869"/>
                </a:lnTo>
                <a:lnTo>
                  <a:pt x="1271587" y="3132251"/>
                </a:lnTo>
                <a:lnTo>
                  <a:pt x="1227747" y="3127121"/>
                </a:lnTo>
                <a:lnTo>
                  <a:pt x="1183906" y="3132251"/>
                </a:lnTo>
                <a:lnTo>
                  <a:pt x="1143660" y="3146869"/>
                </a:lnTo>
                <a:lnTo>
                  <a:pt x="1108163" y="3169805"/>
                </a:lnTo>
                <a:lnTo>
                  <a:pt x="1078560" y="3199904"/>
                </a:lnTo>
                <a:lnTo>
                  <a:pt x="1055979" y="3235972"/>
                </a:lnTo>
                <a:lnTo>
                  <a:pt x="1041603" y="3276879"/>
                </a:lnTo>
                <a:lnTo>
                  <a:pt x="1036548" y="3321431"/>
                </a:lnTo>
                <a:lnTo>
                  <a:pt x="1041603" y="3365982"/>
                </a:lnTo>
                <a:lnTo>
                  <a:pt x="1055979" y="3406876"/>
                </a:lnTo>
                <a:lnTo>
                  <a:pt x="1078560" y="3442957"/>
                </a:lnTo>
                <a:lnTo>
                  <a:pt x="1108163" y="3473056"/>
                </a:lnTo>
                <a:lnTo>
                  <a:pt x="1143660" y="3495992"/>
                </a:lnTo>
                <a:lnTo>
                  <a:pt x="1183906" y="3510610"/>
                </a:lnTo>
                <a:lnTo>
                  <a:pt x="1227747" y="3515741"/>
                </a:lnTo>
                <a:lnTo>
                  <a:pt x="1271587" y="3510610"/>
                </a:lnTo>
                <a:lnTo>
                  <a:pt x="1311833" y="3495992"/>
                </a:lnTo>
                <a:lnTo>
                  <a:pt x="1347343" y="3473056"/>
                </a:lnTo>
                <a:lnTo>
                  <a:pt x="1376946" y="3442957"/>
                </a:lnTo>
                <a:lnTo>
                  <a:pt x="1399514" y="3406876"/>
                </a:lnTo>
                <a:lnTo>
                  <a:pt x="1413903" y="3365982"/>
                </a:lnTo>
                <a:lnTo>
                  <a:pt x="1418945" y="3321431"/>
                </a:lnTo>
                <a:close/>
              </a:path>
              <a:path w="3973829" h="5307330">
                <a:moveTo>
                  <a:pt x="1624139" y="3898176"/>
                </a:moveTo>
                <a:lnTo>
                  <a:pt x="1619084" y="3853624"/>
                </a:lnTo>
                <a:lnTo>
                  <a:pt x="1604708" y="3812730"/>
                </a:lnTo>
                <a:lnTo>
                  <a:pt x="1582140" y="3776649"/>
                </a:lnTo>
                <a:lnTo>
                  <a:pt x="1552524" y="3746550"/>
                </a:lnTo>
                <a:lnTo>
                  <a:pt x="1517027" y="3723614"/>
                </a:lnTo>
                <a:lnTo>
                  <a:pt x="1476781" y="3708997"/>
                </a:lnTo>
                <a:lnTo>
                  <a:pt x="1432941" y="3703866"/>
                </a:lnTo>
                <a:lnTo>
                  <a:pt x="1389100" y="3708997"/>
                </a:lnTo>
                <a:lnTo>
                  <a:pt x="1348854" y="3723614"/>
                </a:lnTo>
                <a:lnTo>
                  <a:pt x="1313357" y="3746550"/>
                </a:lnTo>
                <a:lnTo>
                  <a:pt x="1283741" y="3776649"/>
                </a:lnTo>
                <a:lnTo>
                  <a:pt x="1261173" y="3812730"/>
                </a:lnTo>
                <a:lnTo>
                  <a:pt x="1246784" y="3853624"/>
                </a:lnTo>
                <a:lnTo>
                  <a:pt x="1241742" y="3898176"/>
                </a:lnTo>
                <a:lnTo>
                  <a:pt x="1246784" y="3942727"/>
                </a:lnTo>
                <a:lnTo>
                  <a:pt x="1261173" y="3983634"/>
                </a:lnTo>
                <a:lnTo>
                  <a:pt x="1283741" y="4019702"/>
                </a:lnTo>
                <a:lnTo>
                  <a:pt x="1313357" y="4049801"/>
                </a:lnTo>
                <a:lnTo>
                  <a:pt x="1348854" y="4072737"/>
                </a:lnTo>
                <a:lnTo>
                  <a:pt x="1389100" y="4087355"/>
                </a:lnTo>
                <a:lnTo>
                  <a:pt x="1432941" y="4092486"/>
                </a:lnTo>
                <a:lnTo>
                  <a:pt x="1476781" y="4087355"/>
                </a:lnTo>
                <a:lnTo>
                  <a:pt x="1517027" y="4072737"/>
                </a:lnTo>
                <a:lnTo>
                  <a:pt x="1552524" y="4049801"/>
                </a:lnTo>
                <a:lnTo>
                  <a:pt x="1582140" y="4019702"/>
                </a:lnTo>
                <a:lnTo>
                  <a:pt x="1604708" y="3983634"/>
                </a:lnTo>
                <a:lnTo>
                  <a:pt x="1619084" y="3942727"/>
                </a:lnTo>
                <a:lnTo>
                  <a:pt x="1624139" y="3898176"/>
                </a:lnTo>
                <a:close/>
              </a:path>
              <a:path w="3973829" h="5307330">
                <a:moveTo>
                  <a:pt x="1860181" y="2541765"/>
                </a:moveTo>
                <a:lnTo>
                  <a:pt x="1856193" y="2496591"/>
                </a:lnTo>
                <a:lnTo>
                  <a:pt x="1844713" y="2454059"/>
                </a:lnTo>
                <a:lnTo>
                  <a:pt x="1826412" y="2414905"/>
                </a:lnTo>
                <a:lnTo>
                  <a:pt x="1802015" y="2379827"/>
                </a:lnTo>
                <a:lnTo>
                  <a:pt x="1772208" y="2349538"/>
                </a:lnTo>
                <a:lnTo>
                  <a:pt x="1737690" y="2324735"/>
                </a:lnTo>
                <a:lnTo>
                  <a:pt x="1699158" y="2306142"/>
                </a:lnTo>
                <a:lnTo>
                  <a:pt x="1657324" y="2294471"/>
                </a:lnTo>
                <a:lnTo>
                  <a:pt x="1612861" y="2290419"/>
                </a:lnTo>
                <a:lnTo>
                  <a:pt x="1568411" y="2294471"/>
                </a:lnTo>
                <a:lnTo>
                  <a:pt x="1526565" y="2306142"/>
                </a:lnTo>
                <a:lnTo>
                  <a:pt x="1488033" y="2324735"/>
                </a:lnTo>
                <a:lnTo>
                  <a:pt x="1453515" y="2349538"/>
                </a:lnTo>
                <a:lnTo>
                  <a:pt x="1423708" y="2379827"/>
                </a:lnTo>
                <a:lnTo>
                  <a:pt x="1399311" y="2414905"/>
                </a:lnTo>
                <a:lnTo>
                  <a:pt x="1381023" y="2454059"/>
                </a:lnTo>
                <a:lnTo>
                  <a:pt x="1369529" y="2496591"/>
                </a:lnTo>
                <a:lnTo>
                  <a:pt x="1365542" y="2541765"/>
                </a:lnTo>
                <a:lnTo>
                  <a:pt x="1369529" y="2586939"/>
                </a:lnTo>
                <a:lnTo>
                  <a:pt x="1381023" y="2629471"/>
                </a:lnTo>
                <a:lnTo>
                  <a:pt x="1399311" y="2668625"/>
                </a:lnTo>
                <a:lnTo>
                  <a:pt x="1423708" y="2703703"/>
                </a:lnTo>
                <a:lnTo>
                  <a:pt x="1453515" y="2733992"/>
                </a:lnTo>
                <a:lnTo>
                  <a:pt x="1488033" y="2758795"/>
                </a:lnTo>
                <a:lnTo>
                  <a:pt x="1526565" y="2777388"/>
                </a:lnTo>
                <a:lnTo>
                  <a:pt x="1568411" y="2789059"/>
                </a:lnTo>
                <a:lnTo>
                  <a:pt x="1612861" y="2793111"/>
                </a:lnTo>
                <a:lnTo>
                  <a:pt x="1657324" y="2789059"/>
                </a:lnTo>
                <a:lnTo>
                  <a:pt x="1699158" y="2777388"/>
                </a:lnTo>
                <a:lnTo>
                  <a:pt x="1737690" y="2758795"/>
                </a:lnTo>
                <a:lnTo>
                  <a:pt x="1772208" y="2733992"/>
                </a:lnTo>
                <a:lnTo>
                  <a:pt x="1802015" y="2703703"/>
                </a:lnTo>
                <a:lnTo>
                  <a:pt x="1826412" y="2668625"/>
                </a:lnTo>
                <a:lnTo>
                  <a:pt x="1844713" y="2629471"/>
                </a:lnTo>
                <a:lnTo>
                  <a:pt x="1856193" y="2586939"/>
                </a:lnTo>
                <a:lnTo>
                  <a:pt x="1860181" y="2541765"/>
                </a:lnTo>
                <a:close/>
              </a:path>
              <a:path w="3973829" h="5307330">
                <a:moveTo>
                  <a:pt x="2167483" y="408241"/>
                </a:moveTo>
                <a:lnTo>
                  <a:pt x="2166924" y="335267"/>
                </a:lnTo>
                <a:lnTo>
                  <a:pt x="2162899" y="264515"/>
                </a:lnTo>
                <a:lnTo>
                  <a:pt x="2155672" y="196011"/>
                </a:lnTo>
                <a:lnTo>
                  <a:pt x="2145474" y="129794"/>
                </a:lnTo>
                <a:lnTo>
                  <a:pt x="2132596" y="65874"/>
                </a:lnTo>
                <a:lnTo>
                  <a:pt x="2117267" y="4292"/>
                </a:lnTo>
                <a:lnTo>
                  <a:pt x="2115997" y="12"/>
                </a:lnTo>
                <a:lnTo>
                  <a:pt x="1283462" y="12"/>
                </a:lnTo>
                <a:lnTo>
                  <a:pt x="1267079" y="24307"/>
                </a:lnTo>
                <a:lnTo>
                  <a:pt x="1257134" y="73621"/>
                </a:lnTo>
                <a:lnTo>
                  <a:pt x="1267079" y="122936"/>
                </a:lnTo>
                <a:lnTo>
                  <a:pt x="1294218" y="163195"/>
                </a:lnTo>
                <a:lnTo>
                  <a:pt x="1334477" y="190347"/>
                </a:lnTo>
                <a:lnTo>
                  <a:pt x="1383792" y="200304"/>
                </a:lnTo>
                <a:lnTo>
                  <a:pt x="1784172" y="200304"/>
                </a:lnTo>
                <a:lnTo>
                  <a:pt x="1791182" y="247345"/>
                </a:lnTo>
                <a:lnTo>
                  <a:pt x="1796199" y="295897"/>
                </a:lnTo>
                <a:lnTo>
                  <a:pt x="1799069" y="345973"/>
                </a:lnTo>
                <a:lnTo>
                  <a:pt x="1799653" y="397535"/>
                </a:lnTo>
                <a:lnTo>
                  <a:pt x="1797761" y="450596"/>
                </a:lnTo>
                <a:lnTo>
                  <a:pt x="1793240" y="505142"/>
                </a:lnTo>
                <a:lnTo>
                  <a:pt x="1786153" y="503910"/>
                </a:lnTo>
                <a:lnTo>
                  <a:pt x="1778977" y="502945"/>
                </a:lnTo>
                <a:lnTo>
                  <a:pt x="749782" y="502945"/>
                </a:lnTo>
                <a:lnTo>
                  <a:pt x="700468" y="512902"/>
                </a:lnTo>
                <a:lnTo>
                  <a:pt x="660209" y="540054"/>
                </a:lnTo>
                <a:lnTo>
                  <a:pt x="633069" y="580326"/>
                </a:lnTo>
                <a:lnTo>
                  <a:pt x="623125" y="629627"/>
                </a:lnTo>
                <a:lnTo>
                  <a:pt x="633069" y="678942"/>
                </a:lnTo>
                <a:lnTo>
                  <a:pt x="660209" y="719213"/>
                </a:lnTo>
                <a:lnTo>
                  <a:pt x="700468" y="746366"/>
                </a:lnTo>
                <a:lnTo>
                  <a:pt x="749782" y="756323"/>
                </a:lnTo>
                <a:lnTo>
                  <a:pt x="1732711" y="756323"/>
                </a:lnTo>
                <a:lnTo>
                  <a:pt x="1714741" y="802106"/>
                </a:lnTo>
                <a:lnTo>
                  <a:pt x="1694802" y="847928"/>
                </a:lnTo>
                <a:lnTo>
                  <a:pt x="1672983" y="893800"/>
                </a:lnTo>
                <a:lnTo>
                  <a:pt x="1649349" y="939711"/>
                </a:lnTo>
                <a:lnTo>
                  <a:pt x="1623949" y="985634"/>
                </a:lnTo>
                <a:lnTo>
                  <a:pt x="1596847" y="1031557"/>
                </a:lnTo>
                <a:lnTo>
                  <a:pt x="1568132" y="1077493"/>
                </a:lnTo>
                <a:lnTo>
                  <a:pt x="805383" y="1077493"/>
                </a:lnTo>
                <a:lnTo>
                  <a:pt x="756069" y="1087450"/>
                </a:lnTo>
                <a:lnTo>
                  <a:pt x="715810" y="1114602"/>
                </a:lnTo>
                <a:lnTo>
                  <a:pt x="688670" y="1154874"/>
                </a:lnTo>
                <a:lnTo>
                  <a:pt x="678726" y="1204175"/>
                </a:lnTo>
                <a:lnTo>
                  <a:pt x="688670" y="1253490"/>
                </a:lnTo>
                <a:lnTo>
                  <a:pt x="715810" y="1293749"/>
                </a:lnTo>
                <a:lnTo>
                  <a:pt x="756069" y="1320901"/>
                </a:lnTo>
                <a:lnTo>
                  <a:pt x="805383" y="1330858"/>
                </a:lnTo>
                <a:lnTo>
                  <a:pt x="1383538" y="1330858"/>
                </a:lnTo>
                <a:lnTo>
                  <a:pt x="1352664" y="1368552"/>
                </a:lnTo>
                <a:lnTo>
                  <a:pt x="1321041" y="1406194"/>
                </a:lnTo>
                <a:lnTo>
                  <a:pt x="1288719" y="1443786"/>
                </a:lnTo>
                <a:lnTo>
                  <a:pt x="1255737" y="1481302"/>
                </a:lnTo>
                <a:lnTo>
                  <a:pt x="1222133" y="1518742"/>
                </a:lnTo>
                <a:lnTo>
                  <a:pt x="1187945" y="1556105"/>
                </a:lnTo>
                <a:lnTo>
                  <a:pt x="1153210" y="1593380"/>
                </a:lnTo>
                <a:lnTo>
                  <a:pt x="1117981" y="1630578"/>
                </a:lnTo>
                <a:lnTo>
                  <a:pt x="1082281" y="1667675"/>
                </a:lnTo>
                <a:lnTo>
                  <a:pt x="1046162" y="1704657"/>
                </a:lnTo>
                <a:lnTo>
                  <a:pt x="1009662" y="1741538"/>
                </a:lnTo>
                <a:lnTo>
                  <a:pt x="972807" y="1778304"/>
                </a:lnTo>
                <a:lnTo>
                  <a:pt x="935659" y="1814957"/>
                </a:lnTo>
                <a:lnTo>
                  <a:pt x="898245" y="1851469"/>
                </a:lnTo>
                <a:lnTo>
                  <a:pt x="822794" y="1924113"/>
                </a:lnTo>
                <a:lnTo>
                  <a:pt x="708621" y="2031961"/>
                </a:lnTo>
                <a:lnTo>
                  <a:pt x="351548" y="2362314"/>
                </a:lnTo>
                <a:lnTo>
                  <a:pt x="183464" y="2519527"/>
                </a:lnTo>
                <a:lnTo>
                  <a:pt x="101993" y="2597442"/>
                </a:lnTo>
                <a:lnTo>
                  <a:pt x="62052" y="2636240"/>
                </a:lnTo>
                <a:lnTo>
                  <a:pt x="22707" y="2674924"/>
                </a:lnTo>
                <a:lnTo>
                  <a:pt x="0" y="2697581"/>
                </a:lnTo>
                <a:lnTo>
                  <a:pt x="0" y="3450831"/>
                </a:lnTo>
                <a:lnTo>
                  <a:pt x="701814" y="3450831"/>
                </a:lnTo>
                <a:lnTo>
                  <a:pt x="751128" y="3440874"/>
                </a:lnTo>
                <a:lnTo>
                  <a:pt x="791387" y="3413722"/>
                </a:lnTo>
                <a:lnTo>
                  <a:pt x="818527" y="3373450"/>
                </a:lnTo>
                <a:lnTo>
                  <a:pt x="828471" y="3324148"/>
                </a:lnTo>
                <a:lnTo>
                  <a:pt x="818527" y="3274834"/>
                </a:lnTo>
                <a:lnTo>
                  <a:pt x="791387" y="3234563"/>
                </a:lnTo>
                <a:lnTo>
                  <a:pt x="751128" y="3207423"/>
                </a:lnTo>
                <a:lnTo>
                  <a:pt x="701814" y="3197466"/>
                </a:lnTo>
                <a:lnTo>
                  <a:pt x="32537" y="3197466"/>
                </a:lnTo>
                <a:lnTo>
                  <a:pt x="62763" y="3163379"/>
                </a:lnTo>
                <a:lnTo>
                  <a:pt x="93967" y="3129026"/>
                </a:lnTo>
                <a:lnTo>
                  <a:pt x="126098" y="3094444"/>
                </a:lnTo>
                <a:lnTo>
                  <a:pt x="159143" y="3059607"/>
                </a:lnTo>
                <a:lnTo>
                  <a:pt x="193014" y="3024543"/>
                </a:lnTo>
                <a:lnTo>
                  <a:pt x="227698" y="2989262"/>
                </a:lnTo>
                <a:lnTo>
                  <a:pt x="263118" y="2953753"/>
                </a:lnTo>
                <a:lnTo>
                  <a:pt x="299250" y="2918041"/>
                </a:lnTo>
                <a:lnTo>
                  <a:pt x="336042" y="2882125"/>
                </a:lnTo>
                <a:lnTo>
                  <a:pt x="411391" y="2809697"/>
                </a:lnTo>
                <a:lnTo>
                  <a:pt x="528180" y="2699715"/>
                </a:lnTo>
                <a:lnTo>
                  <a:pt x="967320" y="2293175"/>
                </a:lnTo>
                <a:lnTo>
                  <a:pt x="1084859" y="2182253"/>
                </a:lnTo>
                <a:lnTo>
                  <a:pt x="1162202" y="2107908"/>
                </a:lnTo>
                <a:lnTo>
                  <a:pt x="1200480" y="2070620"/>
                </a:lnTo>
                <a:lnTo>
                  <a:pt x="1238440" y="2033244"/>
                </a:lnTo>
                <a:lnTo>
                  <a:pt x="1276083" y="1995766"/>
                </a:lnTo>
                <a:lnTo>
                  <a:pt x="1313357" y="1958213"/>
                </a:lnTo>
                <a:lnTo>
                  <a:pt x="1350238" y="1920544"/>
                </a:lnTo>
                <a:lnTo>
                  <a:pt x="1386687" y="1882787"/>
                </a:lnTo>
                <a:lnTo>
                  <a:pt x="1422692" y="1844929"/>
                </a:lnTo>
                <a:lnTo>
                  <a:pt x="1458214" y="1806968"/>
                </a:lnTo>
                <a:lnTo>
                  <a:pt x="1493227" y="1768894"/>
                </a:lnTo>
                <a:lnTo>
                  <a:pt x="1527695" y="1730705"/>
                </a:lnTo>
                <a:lnTo>
                  <a:pt x="1561579" y="1692402"/>
                </a:lnTo>
                <a:lnTo>
                  <a:pt x="1594878" y="1653984"/>
                </a:lnTo>
                <a:lnTo>
                  <a:pt x="1627530" y="1615440"/>
                </a:lnTo>
                <a:lnTo>
                  <a:pt x="1659534" y="1576781"/>
                </a:lnTo>
                <a:lnTo>
                  <a:pt x="1690839" y="1537982"/>
                </a:lnTo>
                <a:lnTo>
                  <a:pt x="1721421" y="1499057"/>
                </a:lnTo>
                <a:lnTo>
                  <a:pt x="1751253" y="1460004"/>
                </a:lnTo>
                <a:lnTo>
                  <a:pt x="1780311" y="1420812"/>
                </a:lnTo>
                <a:lnTo>
                  <a:pt x="1808543" y="1381480"/>
                </a:lnTo>
                <a:lnTo>
                  <a:pt x="1835950" y="1342009"/>
                </a:lnTo>
                <a:lnTo>
                  <a:pt x="1862480" y="1302385"/>
                </a:lnTo>
                <a:lnTo>
                  <a:pt x="1888109" y="1262621"/>
                </a:lnTo>
                <a:lnTo>
                  <a:pt x="1912810" y="1222692"/>
                </a:lnTo>
                <a:lnTo>
                  <a:pt x="1936546" y="1182624"/>
                </a:lnTo>
                <a:lnTo>
                  <a:pt x="1959292" y="1142390"/>
                </a:lnTo>
                <a:lnTo>
                  <a:pt x="1981022" y="1101991"/>
                </a:lnTo>
                <a:lnTo>
                  <a:pt x="2001710" y="1061427"/>
                </a:lnTo>
                <a:lnTo>
                  <a:pt x="2021306" y="1020699"/>
                </a:lnTo>
                <a:lnTo>
                  <a:pt x="2039797" y="979805"/>
                </a:lnTo>
                <a:lnTo>
                  <a:pt x="2057158" y="938733"/>
                </a:lnTo>
                <a:lnTo>
                  <a:pt x="2073338" y="897483"/>
                </a:lnTo>
                <a:lnTo>
                  <a:pt x="2088324" y="856056"/>
                </a:lnTo>
                <a:lnTo>
                  <a:pt x="2102078" y="814438"/>
                </a:lnTo>
                <a:lnTo>
                  <a:pt x="2114588" y="772642"/>
                </a:lnTo>
                <a:lnTo>
                  <a:pt x="2125789" y="730656"/>
                </a:lnTo>
                <a:lnTo>
                  <a:pt x="2135682" y="688479"/>
                </a:lnTo>
                <a:lnTo>
                  <a:pt x="2144230" y="646099"/>
                </a:lnTo>
                <a:lnTo>
                  <a:pt x="2151405" y="603529"/>
                </a:lnTo>
                <a:lnTo>
                  <a:pt x="2157158" y="560755"/>
                </a:lnTo>
                <a:lnTo>
                  <a:pt x="2162302" y="505142"/>
                </a:lnTo>
                <a:lnTo>
                  <a:pt x="2164308" y="483412"/>
                </a:lnTo>
                <a:lnTo>
                  <a:pt x="2167483" y="408241"/>
                </a:lnTo>
                <a:close/>
              </a:path>
              <a:path w="3973829" h="5307330">
                <a:moveTo>
                  <a:pt x="2815323" y="1929345"/>
                </a:moveTo>
                <a:lnTo>
                  <a:pt x="2811945" y="1882635"/>
                </a:lnTo>
                <a:lnTo>
                  <a:pt x="2802153" y="1838058"/>
                </a:lnTo>
                <a:lnTo>
                  <a:pt x="2786405" y="1796097"/>
                </a:lnTo>
                <a:lnTo>
                  <a:pt x="2765209" y="1757235"/>
                </a:lnTo>
                <a:lnTo>
                  <a:pt x="2739021" y="1721967"/>
                </a:lnTo>
                <a:lnTo>
                  <a:pt x="2708338" y="1690789"/>
                </a:lnTo>
                <a:lnTo>
                  <a:pt x="2673642" y="1664182"/>
                </a:lnTo>
                <a:lnTo>
                  <a:pt x="2635402" y="1642643"/>
                </a:lnTo>
                <a:lnTo>
                  <a:pt x="2594114" y="1626641"/>
                </a:lnTo>
                <a:lnTo>
                  <a:pt x="2550249" y="1616684"/>
                </a:lnTo>
                <a:lnTo>
                  <a:pt x="2504287" y="1613255"/>
                </a:lnTo>
                <a:lnTo>
                  <a:pt x="2458326" y="1616684"/>
                </a:lnTo>
                <a:lnTo>
                  <a:pt x="2414447" y="1626641"/>
                </a:lnTo>
                <a:lnTo>
                  <a:pt x="2373160" y="1642643"/>
                </a:lnTo>
                <a:lnTo>
                  <a:pt x="2334920" y="1664182"/>
                </a:lnTo>
                <a:lnTo>
                  <a:pt x="2300224" y="1690789"/>
                </a:lnTo>
                <a:lnTo>
                  <a:pt x="2269540" y="1721967"/>
                </a:lnTo>
                <a:lnTo>
                  <a:pt x="2243353" y="1757235"/>
                </a:lnTo>
                <a:lnTo>
                  <a:pt x="2222157" y="1796097"/>
                </a:lnTo>
                <a:lnTo>
                  <a:pt x="2206421" y="1838058"/>
                </a:lnTo>
                <a:lnTo>
                  <a:pt x="2196617" y="1882635"/>
                </a:lnTo>
                <a:lnTo>
                  <a:pt x="2193252" y="1929345"/>
                </a:lnTo>
                <a:lnTo>
                  <a:pt x="2196617" y="1976056"/>
                </a:lnTo>
                <a:lnTo>
                  <a:pt x="2206421" y="2020646"/>
                </a:lnTo>
                <a:lnTo>
                  <a:pt x="2222157" y="2062607"/>
                </a:lnTo>
                <a:lnTo>
                  <a:pt x="2243353" y="2101469"/>
                </a:lnTo>
                <a:lnTo>
                  <a:pt x="2269540" y="2136724"/>
                </a:lnTo>
                <a:lnTo>
                  <a:pt x="2300224" y="2167915"/>
                </a:lnTo>
                <a:lnTo>
                  <a:pt x="2334920" y="2194522"/>
                </a:lnTo>
                <a:lnTo>
                  <a:pt x="2373160" y="2216061"/>
                </a:lnTo>
                <a:lnTo>
                  <a:pt x="2414447" y="2232063"/>
                </a:lnTo>
                <a:lnTo>
                  <a:pt x="2458326" y="2242020"/>
                </a:lnTo>
                <a:lnTo>
                  <a:pt x="2504287" y="2245436"/>
                </a:lnTo>
                <a:lnTo>
                  <a:pt x="2550249" y="2242020"/>
                </a:lnTo>
                <a:lnTo>
                  <a:pt x="2594114" y="2232063"/>
                </a:lnTo>
                <a:lnTo>
                  <a:pt x="2635402" y="2216061"/>
                </a:lnTo>
                <a:lnTo>
                  <a:pt x="2673642" y="2194522"/>
                </a:lnTo>
                <a:lnTo>
                  <a:pt x="2708338" y="2167915"/>
                </a:lnTo>
                <a:lnTo>
                  <a:pt x="2739021" y="2136724"/>
                </a:lnTo>
                <a:lnTo>
                  <a:pt x="2765209" y="2101469"/>
                </a:lnTo>
                <a:lnTo>
                  <a:pt x="2786405" y="2062607"/>
                </a:lnTo>
                <a:lnTo>
                  <a:pt x="2802153" y="2020646"/>
                </a:lnTo>
                <a:lnTo>
                  <a:pt x="2811945" y="1976056"/>
                </a:lnTo>
                <a:lnTo>
                  <a:pt x="2815323" y="1929345"/>
                </a:lnTo>
                <a:close/>
              </a:path>
              <a:path w="3973829" h="5307330">
                <a:moveTo>
                  <a:pt x="2817076" y="3135579"/>
                </a:moveTo>
                <a:lnTo>
                  <a:pt x="2814421" y="3088868"/>
                </a:lnTo>
                <a:lnTo>
                  <a:pt x="2806662" y="3043745"/>
                </a:lnTo>
                <a:lnTo>
                  <a:pt x="2794089" y="3000489"/>
                </a:lnTo>
                <a:lnTo>
                  <a:pt x="2777007" y="2959430"/>
                </a:lnTo>
                <a:lnTo>
                  <a:pt x="2755709" y="2920847"/>
                </a:lnTo>
                <a:lnTo>
                  <a:pt x="2730487" y="2885059"/>
                </a:lnTo>
                <a:lnTo>
                  <a:pt x="2701633" y="2852343"/>
                </a:lnTo>
                <a:lnTo>
                  <a:pt x="2669438" y="2823019"/>
                </a:lnTo>
                <a:lnTo>
                  <a:pt x="2634221" y="2797391"/>
                </a:lnTo>
                <a:lnTo>
                  <a:pt x="2596261" y="2775737"/>
                </a:lnTo>
                <a:lnTo>
                  <a:pt x="2555849" y="2758376"/>
                </a:lnTo>
                <a:lnTo>
                  <a:pt x="2513304" y="2745600"/>
                </a:lnTo>
                <a:lnTo>
                  <a:pt x="2468892" y="2737726"/>
                </a:lnTo>
                <a:lnTo>
                  <a:pt x="2422931" y="2735021"/>
                </a:lnTo>
                <a:lnTo>
                  <a:pt x="2376957" y="2737726"/>
                </a:lnTo>
                <a:lnTo>
                  <a:pt x="2332558" y="2745600"/>
                </a:lnTo>
                <a:lnTo>
                  <a:pt x="2290000" y="2758376"/>
                </a:lnTo>
                <a:lnTo>
                  <a:pt x="2249589" y="2775737"/>
                </a:lnTo>
                <a:lnTo>
                  <a:pt x="2211628" y="2797391"/>
                </a:lnTo>
                <a:lnTo>
                  <a:pt x="2176411" y="2823019"/>
                </a:lnTo>
                <a:lnTo>
                  <a:pt x="2144230" y="2852343"/>
                </a:lnTo>
                <a:lnTo>
                  <a:pt x="2115375" y="2885059"/>
                </a:lnTo>
                <a:lnTo>
                  <a:pt x="2090153" y="2920847"/>
                </a:lnTo>
                <a:lnTo>
                  <a:pt x="2068842" y="2959430"/>
                </a:lnTo>
                <a:lnTo>
                  <a:pt x="2051761" y="3000489"/>
                </a:lnTo>
                <a:lnTo>
                  <a:pt x="2039188" y="3043745"/>
                </a:lnTo>
                <a:lnTo>
                  <a:pt x="2031428" y="3088868"/>
                </a:lnTo>
                <a:lnTo>
                  <a:pt x="2028786" y="3135579"/>
                </a:lnTo>
                <a:lnTo>
                  <a:pt x="2031428" y="3182302"/>
                </a:lnTo>
                <a:lnTo>
                  <a:pt x="2039188" y="3227425"/>
                </a:lnTo>
                <a:lnTo>
                  <a:pt x="2051761" y="3270681"/>
                </a:lnTo>
                <a:lnTo>
                  <a:pt x="2068842" y="3311741"/>
                </a:lnTo>
                <a:lnTo>
                  <a:pt x="2090153" y="3350323"/>
                </a:lnTo>
                <a:lnTo>
                  <a:pt x="2115375" y="3386112"/>
                </a:lnTo>
                <a:lnTo>
                  <a:pt x="2144230" y="3418827"/>
                </a:lnTo>
                <a:lnTo>
                  <a:pt x="2176411" y="3448139"/>
                </a:lnTo>
                <a:lnTo>
                  <a:pt x="2211628" y="3473780"/>
                </a:lnTo>
                <a:lnTo>
                  <a:pt x="2249589" y="3495433"/>
                </a:lnTo>
                <a:lnTo>
                  <a:pt x="2290000" y="3512794"/>
                </a:lnTo>
                <a:lnTo>
                  <a:pt x="2332558" y="3525558"/>
                </a:lnTo>
                <a:lnTo>
                  <a:pt x="2376957" y="3533444"/>
                </a:lnTo>
                <a:lnTo>
                  <a:pt x="2422931" y="3536137"/>
                </a:lnTo>
                <a:lnTo>
                  <a:pt x="2468892" y="3533444"/>
                </a:lnTo>
                <a:lnTo>
                  <a:pt x="2513304" y="3525558"/>
                </a:lnTo>
                <a:lnTo>
                  <a:pt x="2555849" y="3512794"/>
                </a:lnTo>
                <a:lnTo>
                  <a:pt x="2596261" y="3495433"/>
                </a:lnTo>
                <a:lnTo>
                  <a:pt x="2634221" y="3473780"/>
                </a:lnTo>
                <a:lnTo>
                  <a:pt x="2669438" y="3448139"/>
                </a:lnTo>
                <a:lnTo>
                  <a:pt x="2701633" y="3418827"/>
                </a:lnTo>
                <a:lnTo>
                  <a:pt x="2730487" y="3386112"/>
                </a:lnTo>
                <a:lnTo>
                  <a:pt x="2755709" y="3350323"/>
                </a:lnTo>
                <a:lnTo>
                  <a:pt x="2777007" y="3311741"/>
                </a:lnTo>
                <a:lnTo>
                  <a:pt x="2794089" y="3270681"/>
                </a:lnTo>
                <a:lnTo>
                  <a:pt x="2806662" y="3227425"/>
                </a:lnTo>
                <a:lnTo>
                  <a:pt x="2814421" y="3182302"/>
                </a:lnTo>
                <a:lnTo>
                  <a:pt x="2817076" y="3135579"/>
                </a:lnTo>
                <a:close/>
              </a:path>
              <a:path w="3973829" h="5307330">
                <a:moveTo>
                  <a:pt x="3001899" y="902957"/>
                </a:moveTo>
                <a:lnTo>
                  <a:pt x="2997568" y="853782"/>
                </a:lnTo>
                <a:lnTo>
                  <a:pt x="2985058" y="807504"/>
                </a:lnTo>
                <a:lnTo>
                  <a:pt x="2965145" y="764882"/>
                </a:lnTo>
                <a:lnTo>
                  <a:pt x="2938589" y="726706"/>
                </a:lnTo>
                <a:lnTo>
                  <a:pt x="2906141" y="693737"/>
                </a:lnTo>
                <a:lnTo>
                  <a:pt x="2868574" y="666750"/>
                </a:lnTo>
                <a:lnTo>
                  <a:pt x="2826639" y="646518"/>
                </a:lnTo>
                <a:lnTo>
                  <a:pt x="2781096" y="633806"/>
                </a:lnTo>
                <a:lnTo>
                  <a:pt x="2732709" y="629399"/>
                </a:lnTo>
                <a:lnTo>
                  <a:pt x="2684322" y="633806"/>
                </a:lnTo>
                <a:lnTo>
                  <a:pt x="2638780" y="646518"/>
                </a:lnTo>
                <a:lnTo>
                  <a:pt x="2596845" y="666750"/>
                </a:lnTo>
                <a:lnTo>
                  <a:pt x="2559278" y="693737"/>
                </a:lnTo>
                <a:lnTo>
                  <a:pt x="2526830" y="726706"/>
                </a:lnTo>
                <a:lnTo>
                  <a:pt x="2500274" y="764882"/>
                </a:lnTo>
                <a:lnTo>
                  <a:pt x="2480360" y="807504"/>
                </a:lnTo>
                <a:lnTo>
                  <a:pt x="2467864" y="853782"/>
                </a:lnTo>
                <a:lnTo>
                  <a:pt x="2463520" y="902957"/>
                </a:lnTo>
                <a:lnTo>
                  <a:pt x="2467864" y="952131"/>
                </a:lnTo>
                <a:lnTo>
                  <a:pt x="2480360" y="998410"/>
                </a:lnTo>
                <a:lnTo>
                  <a:pt x="2500274" y="1041031"/>
                </a:lnTo>
                <a:lnTo>
                  <a:pt x="2526830" y="1079220"/>
                </a:lnTo>
                <a:lnTo>
                  <a:pt x="2559278" y="1112189"/>
                </a:lnTo>
                <a:lnTo>
                  <a:pt x="2596845" y="1139177"/>
                </a:lnTo>
                <a:lnTo>
                  <a:pt x="2638780" y="1159408"/>
                </a:lnTo>
                <a:lnTo>
                  <a:pt x="2684322" y="1172121"/>
                </a:lnTo>
                <a:lnTo>
                  <a:pt x="2732709" y="1176528"/>
                </a:lnTo>
                <a:lnTo>
                  <a:pt x="2781096" y="1172121"/>
                </a:lnTo>
                <a:lnTo>
                  <a:pt x="2826639" y="1159408"/>
                </a:lnTo>
                <a:lnTo>
                  <a:pt x="2868574" y="1139177"/>
                </a:lnTo>
                <a:lnTo>
                  <a:pt x="2906141" y="1112189"/>
                </a:lnTo>
                <a:lnTo>
                  <a:pt x="2938589" y="1079220"/>
                </a:lnTo>
                <a:lnTo>
                  <a:pt x="2965145" y="1041031"/>
                </a:lnTo>
                <a:lnTo>
                  <a:pt x="2985058" y="998410"/>
                </a:lnTo>
                <a:lnTo>
                  <a:pt x="2997568" y="952131"/>
                </a:lnTo>
                <a:lnTo>
                  <a:pt x="3001899" y="902957"/>
                </a:lnTo>
                <a:close/>
              </a:path>
              <a:path w="3973829" h="5307330">
                <a:moveTo>
                  <a:pt x="3293262" y="0"/>
                </a:moveTo>
                <a:lnTo>
                  <a:pt x="2712770" y="0"/>
                </a:lnTo>
                <a:lnTo>
                  <a:pt x="2722854" y="15176"/>
                </a:lnTo>
                <a:lnTo>
                  <a:pt x="2752775" y="49720"/>
                </a:lnTo>
                <a:lnTo>
                  <a:pt x="2786761" y="80124"/>
                </a:lnTo>
                <a:lnTo>
                  <a:pt x="2824403" y="105956"/>
                </a:lnTo>
                <a:lnTo>
                  <a:pt x="2865259" y="126796"/>
                </a:lnTo>
                <a:lnTo>
                  <a:pt x="2908935" y="142214"/>
                </a:lnTo>
                <a:lnTo>
                  <a:pt x="2954998" y="151777"/>
                </a:lnTo>
                <a:lnTo>
                  <a:pt x="3003016" y="155054"/>
                </a:lnTo>
                <a:lnTo>
                  <a:pt x="3051035" y="151777"/>
                </a:lnTo>
                <a:lnTo>
                  <a:pt x="3097098" y="142214"/>
                </a:lnTo>
                <a:lnTo>
                  <a:pt x="3140773" y="126796"/>
                </a:lnTo>
                <a:lnTo>
                  <a:pt x="3181642" y="105956"/>
                </a:lnTo>
                <a:lnTo>
                  <a:pt x="3219272" y="80124"/>
                </a:lnTo>
                <a:lnTo>
                  <a:pt x="3253257" y="49720"/>
                </a:lnTo>
                <a:lnTo>
                  <a:pt x="3283178" y="15176"/>
                </a:lnTo>
                <a:lnTo>
                  <a:pt x="3293262" y="0"/>
                </a:lnTo>
                <a:close/>
              </a:path>
              <a:path w="3973829" h="5307330">
                <a:moveTo>
                  <a:pt x="3973512" y="1706270"/>
                </a:moveTo>
                <a:lnTo>
                  <a:pt x="3970858" y="1659585"/>
                </a:lnTo>
                <a:lnTo>
                  <a:pt x="3963111" y="1614474"/>
                </a:lnTo>
                <a:lnTo>
                  <a:pt x="3950551" y="1571244"/>
                </a:lnTo>
                <a:lnTo>
                  <a:pt x="3933469" y="1530210"/>
                </a:lnTo>
                <a:lnTo>
                  <a:pt x="3912184" y="1491640"/>
                </a:lnTo>
                <a:lnTo>
                  <a:pt x="3886962" y="1455864"/>
                </a:lnTo>
                <a:lnTo>
                  <a:pt x="3858133" y="1423174"/>
                </a:lnTo>
                <a:lnTo>
                  <a:pt x="3825964" y="1393863"/>
                </a:lnTo>
                <a:lnTo>
                  <a:pt x="3790759" y="1368247"/>
                </a:lnTo>
                <a:lnTo>
                  <a:pt x="3752812" y="1346606"/>
                </a:lnTo>
                <a:lnTo>
                  <a:pt x="3712426" y="1329245"/>
                </a:lnTo>
                <a:lnTo>
                  <a:pt x="3669893" y="1316482"/>
                </a:lnTo>
                <a:lnTo>
                  <a:pt x="3625507" y="1308608"/>
                </a:lnTo>
                <a:lnTo>
                  <a:pt x="3579558" y="1305902"/>
                </a:lnTo>
                <a:lnTo>
                  <a:pt x="3533610" y="1308608"/>
                </a:lnTo>
                <a:lnTo>
                  <a:pt x="3489223" y="1316482"/>
                </a:lnTo>
                <a:lnTo>
                  <a:pt x="3446691" y="1329245"/>
                </a:lnTo>
                <a:lnTo>
                  <a:pt x="3406305" y="1346606"/>
                </a:lnTo>
                <a:lnTo>
                  <a:pt x="3368370" y="1368247"/>
                </a:lnTo>
                <a:lnTo>
                  <a:pt x="3333165" y="1393863"/>
                </a:lnTo>
                <a:lnTo>
                  <a:pt x="3300996" y="1423174"/>
                </a:lnTo>
                <a:lnTo>
                  <a:pt x="3272155" y="1455864"/>
                </a:lnTo>
                <a:lnTo>
                  <a:pt x="3246945" y="1491640"/>
                </a:lnTo>
                <a:lnTo>
                  <a:pt x="3225647" y="1530210"/>
                </a:lnTo>
                <a:lnTo>
                  <a:pt x="3208578" y="1571244"/>
                </a:lnTo>
                <a:lnTo>
                  <a:pt x="3196005" y="1614474"/>
                </a:lnTo>
                <a:lnTo>
                  <a:pt x="3188258" y="1659585"/>
                </a:lnTo>
                <a:lnTo>
                  <a:pt x="3185604" y="1706270"/>
                </a:lnTo>
                <a:lnTo>
                  <a:pt x="3188258" y="1752968"/>
                </a:lnTo>
                <a:lnTo>
                  <a:pt x="3196005" y="1798078"/>
                </a:lnTo>
                <a:lnTo>
                  <a:pt x="3208578" y="1841296"/>
                </a:lnTo>
                <a:lnTo>
                  <a:pt x="3225647" y="1882343"/>
                </a:lnTo>
                <a:lnTo>
                  <a:pt x="3246945" y="1920900"/>
                </a:lnTo>
                <a:lnTo>
                  <a:pt x="3272155" y="1956676"/>
                </a:lnTo>
                <a:lnTo>
                  <a:pt x="3300996" y="1989366"/>
                </a:lnTo>
                <a:lnTo>
                  <a:pt x="3333165" y="2018677"/>
                </a:lnTo>
                <a:lnTo>
                  <a:pt x="3368370" y="2044306"/>
                </a:lnTo>
                <a:lnTo>
                  <a:pt x="3406305" y="2065934"/>
                </a:lnTo>
                <a:lnTo>
                  <a:pt x="3446691" y="2083295"/>
                </a:lnTo>
                <a:lnTo>
                  <a:pt x="3489223" y="2096058"/>
                </a:lnTo>
                <a:lnTo>
                  <a:pt x="3533610" y="2103932"/>
                </a:lnTo>
                <a:lnTo>
                  <a:pt x="3579558" y="2106625"/>
                </a:lnTo>
                <a:lnTo>
                  <a:pt x="3625507" y="2103932"/>
                </a:lnTo>
                <a:lnTo>
                  <a:pt x="3669893" y="2096058"/>
                </a:lnTo>
                <a:lnTo>
                  <a:pt x="3712426" y="2083295"/>
                </a:lnTo>
                <a:lnTo>
                  <a:pt x="3752812" y="2065934"/>
                </a:lnTo>
                <a:lnTo>
                  <a:pt x="3790759" y="2044306"/>
                </a:lnTo>
                <a:lnTo>
                  <a:pt x="3825964" y="2018677"/>
                </a:lnTo>
                <a:lnTo>
                  <a:pt x="3858133" y="1989366"/>
                </a:lnTo>
                <a:lnTo>
                  <a:pt x="3886962" y="1956676"/>
                </a:lnTo>
                <a:lnTo>
                  <a:pt x="3912184" y="1920900"/>
                </a:lnTo>
                <a:lnTo>
                  <a:pt x="3933469" y="1882343"/>
                </a:lnTo>
                <a:lnTo>
                  <a:pt x="3950551" y="1841296"/>
                </a:lnTo>
                <a:lnTo>
                  <a:pt x="3963111" y="1798078"/>
                </a:lnTo>
                <a:lnTo>
                  <a:pt x="3970858" y="1752968"/>
                </a:lnTo>
                <a:lnTo>
                  <a:pt x="3973512" y="170627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3C1C7D2-8ED7-565E-4663-883D463CCEC2}"/>
              </a:ext>
            </a:extLst>
          </p:cNvPr>
          <p:cNvGrpSpPr/>
          <p:nvPr/>
        </p:nvGrpSpPr>
        <p:grpSpPr>
          <a:xfrm>
            <a:off x="9738785" y="5200448"/>
            <a:ext cx="2447458" cy="1655479"/>
            <a:chOff x="9738785" y="5200448"/>
            <a:chExt cx="2447458" cy="1655479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98C71A34-944C-2B51-8D33-55FE94CDC0ED}"/>
                </a:ext>
              </a:extLst>
            </p:cNvPr>
            <p:cNvSpPr/>
            <p:nvPr/>
          </p:nvSpPr>
          <p:spPr>
            <a:xfrm>
              <a:off x="11776260" y="5200448"/>
              <a:ext cx="409983" cy="1655479"/>
            </a:xfrm>
            <a:custGeom>
              <a:avLst/>
              <a:gdLst/>
              <a:ahLst/>
              <a:cxnLst/>
              <a:rect l="l" t="t" r="r" b="b"/>
              <a:pathLst>
                <a:path w="452119" h="1825625">
                  <a:moveTo>
                    <a:pt x="451948" y="0"/>
                  </a:moveTo>
                  <a:lnTo>
                    <a:pt x="423684" y="19055"/>
                  </a:lnTo>
                  <a:lnTo>
                    <a:pt x="396532" y="59323"/>
                  </a:lnTo>
                  <a:lnTo>
                    <a:pt x="386575" y="108633"/>
                  </a:lnTo>
                  <a:lnTo>
                    <a:pt x="396532" y="157938"/>
                  </a:lnTo>
                  <a:lnTo>
                    <a:pt x="423684" y="198206"/>
                  </a:lnTo>
                  <a:lnTo>
                    <a:pt x="451948" y="217264"/>
                  </a:lnTo>
                  <a:lnTo>
                    <a:pt x="451948" y="0"/>
                  </a:lnTo>
                  <a:close/>
                </a:path>
                <a:path w="452119" h="1825625">
                  <a:moveTo>
                    <a:pt x="451948" y="537956"/>
                  </a:moveTo>
                  <a:lnTo>
                    <a:pt x="126682" y="537956"/>
                  </a:lnTo>
                  <a:lnTo>
                    <a:pt x="77372" y="547914"/>
                  </a:lnTo>
                  <a:lnTo>
                    <a:pt x="37104" y="575066"/>
                  </a:lnTo>
                  <a:lnTo>
                    <a:pt x="9955" y="615334"/>
                  </a:lnTo>
                  <a:lnTo>
                    <a:pt x="0" y="664639"/>
                  </a:lnTo>
                  <a:lnTo>
                    <a:pt x="9955" y="713951"/>
                  </a:lnTo>
                  <a:lnTo>
                    <a:pt x="37104" y="754223"/>
                  </a:lnTo>
                  <a:lnTo>
                    <a:pt x="77372" y="781377"/>
                  </a:lnTo>
                  <a:lnTo>
                    <a:pt x="126682" y="791334"/>
                  </a:lnTo>
                  <a:lnTo>
                    <a:pt x="451948" y="791334"/>
                  </a:lnTo>
                  <a:lnTo>
                    <a:pt x="451948" y="537956"/>
                  </a:lnTo>
                  <a:close/>
                </a:path>
                <a:path w="452119" h="1825625">
                  <a:moveTo>
                    <a:pt x="451948" y="1112479"/>
                  </a:moveTo>
                  <a:lnTo>
                    <a:pt x="182283" y="1112479"/>
                  </a:lnTo>
                  <a:lnTo>
                    <a:pt x="132972" y="1122436"/>
                  </a:lnTo>
                  <a:lnTo>
                    <a:pt x="92705" y="1149588"/>
                  </a:lnTo>
                  <a:lnTo>
                    <a:pt x="65556" y="1189857"/>
                  </a:lnTo>
                  <a:lnTo>
                    <a:pt x="55600" y="1239162"/>
                  </a:lnTo>
                  <a:lnTo>
                    <a:pt x="65556" y="1288472"/>
                  </a:lnTo>
                  <a:lnTo>
                    <a:pt x="92705" y="1328739"/>
                  </a:lnTo>
                  <a:lnTo>
                    <a:pt x="132972" y="1355889"/>
                  </a:lnTo>
                  <a:lnTo>
                    <a:pt x="182283" y="1365844"/>
                  </a:lnTo>
                  <a:lnTo>
                    <a:pt x="451948" y="1365844"/>
                  </a:lnTo>
                  <a:lnTo>
                    <a:pt x="451948" y="1112479"/>
                  </a:lnTo>
                  <a:close/>
                </a:path>
                <a:path w="452119" h="1825625">
                  <a:moveTo>
                    <a:pt x="451948" y="1710089"/>
                  </a:moveTo>
                  <a:lnTo>
                    <a:pt x="423079" y="1739653"/>
                  </a:lnTo>
                  <a:lnTo>
                    <a:pt x="386576" y="1776536"/>
                  </a:lnTo>
                  <a:lnTo>
                    <a:pt x="349728" y="1813304"/>
                  </a:lnTo>
                  <a:lnTo>
                    <a:pt x="337804" y="1825067"/>
                  </a:lnTo>
                  <a:lnTo>
                    <a:pt x="451948" y="1825067"/>
                  </a:lnTo>
                  <a:lnTo>
                    <a:pt x="451948" y="1710089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18C9DDA2-A716-EBE8-F34F-C40B6D8FCE79}"/>
                </a:ext>
              </a:extLst>
            </p:cNvPr>
            <p:cNvSpPr/>
            <p:nvPr/>
          </p:nvSpPr>
          <p:spPr>
            <a:xfrm>
              <a:off x="11026069" y="6723987"/>
              <a:ext cx="393860" cy="131862"/>
            </a:xfrm>
            <a:custGeom>
              <a:avLst/>
              <a:gdLst/>
              <a:ahLst/>
              <a:cxnLst/>
              <a:rect l="l" t="t" r="r" b="b"/>
              <a:pathLst>
                <a:path w="434340" h="145415">
                  <a:moveTo>
                    <a:pt x="216865" y="0"/>
                  </a:moveTo>
                  <a:lnTo>
                    <a:pt x="169224" y="4880"/>
                  </a:lnTo>
                  <a:lnTo>
                    <a:pt x="124850" y="18878"/>
                  </a:lnTo>
                  <a:lnTo>
                    <a:pt x="84694" y="41028"/>
                  </a:lnTo>
                  <a:lnTo>
                    <a:pt x="49708" y="70364"/>
                  </a:lnTo>
                  <a:lnTo>
                    <a:pt x="20841" y="105919"/>
                  </a:lnTo>
                  <a:lnTo>
                    <a:pt x="0" y="144942"/>
                  </a:lnTo>
                  <a:lnTo>
                    <a:pt x="433744" y="144942"/>
                  </a:lnTo>
                  <a:lnTo>
                    <a:pt x="412901" y="105919"/>
                  </a:lnTo>
                  <a:lnTo>
                    <a:pt x="384034" y="70364"/>
                  </a:lnTo>
                  <a:lnTo>
                    <a:pt x="349046" y="41028"/>
                  </a:lnTo>
                  <a:lnTo>
                    <a:pt x="308888" y="18878"/>
                  </a:lnTo>
                  <a:lnTo>
                    <a:pt x="264511" y="4880"/>
                  </a:lnTo>
                  <a:lnTo>
                    <a:pt x="216865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FACD9CE7-8C7D-69FF-1D44-5F08A5F89086}"/>
                </a:ext>
              </a:extLst>
            </p:cNvPr>
            <p:cNvSpPr/>
            <p:nvPr/>
          </p:nvSpPr>
          <p:spPr>
            <a:xfrm>
              <a:off x="11333372" y="6158589"/>
              <a:ext cx="324186" cy="329368"/>
            </a:xfrm>
            <a:custGeom>
              <a:avLst/>
              <a:gdLst/>
              <a:ahLst/>
              <a:cxnLst/>
              <a:rect l="l" t="t" r="r" b="b"/>
              <a:pathLst>
                <a:path w="357504" h="363220">
                  <a:moveTo>
                    <a:pt x="178612" y="0"/>
                  </a:moveTo>
                  <a:lnTo>
                    <a:pt x="131127" y="6483"/>
                  </a:lnTo>
                  <a:lnTo>
                    <a:pt x="88459" y="24782"/>
                  </a:lnTo>
                  <a:lnTo>
                    <a:pt x="52311" y="53165"/>
                  </a:lnTo>
                  <a:lnTo>
                    <a:pt x="24384" y="89902"/>
                  </a:lnTo>
                  <a:lnTo>
                    <a:pt x="6379" y="133264"/>
                  </a:lnTo>
                  <a:lnTo>
                    <a:pt x="0" y="181521"/>
                  </a:lnTo>
                  <a:lnTo>
                    <a:pt x="6379" y="229772"/>
                  </a:lnTo>
                  <a:lnTo>
                    <a:pt x="24383" y="273130"/>
                  </a:lnTo>
                  <a:lnTo>
                    <a:pt x="52311" y="309865"/>
                  </a:lnTo>
                  <a:lnTo>
                    <a:pt x="88459" y="338247"/>
                  </a:lnTo>
                  <a:lnTo>
                    <a:pt x="131127" y="356545"/>
                  </a:lnTo>
                  <a:lnTo>
                    <a:pt x="178612" y="363029"/>
                  </a:lnTo>
                  <a:lnTo>
                    <a:pt x="226092" y="356545"/>
                  </a:lnTo>
                  <a:lnTo>
                    <a:pt x="268756" y="338247"/>
                  </a:lnTo>
                  <a:lnTo>
                    <a:pt x="304903" y="309865"/>
                  </a:lnTo>
                  <a:lnTo>
                    <a:pt x="332829" y="273130"/>
                  </a:lnTo>
                  <a:lnTo>
                    <a:pt x="350833" y="229772"/>
                  </a:lnTo>
                  <a:lnTo>
                    <a:pt x="357212" y="181521"/>
                  </a:lnTo>
                  <a:lnTo>
                    <a:pt x="350833" y="133264"/>
                  </a:lnTo>
                  <a:lnTo>
                    <a:pt x="332829" y="89902"/>
                  </a:lnTo>
                  <a:lnTo>
                    <a:pt x="304903" y="53165"/>
                  </a:lnTo>
                  <a:lnTo>
                    <a:pt x="268756" y="24782"/>
                  </a:lnTo>
                  <a:lnTo>
                    <a:pt x="226092" y="6483"/>
                  </a:lnTo>
                  <a:lnTo>
                    <a:pt x="17861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9B6B4EDF-9602-7E47-156F-525A333E17AC}"/>
                </a:ext>
              </a:extLst>
            </p:cNvPr>
            <p:cNvSpPr/>
            <p:nvPr/>
          </p:nvSpPr>
          <p:spPr>
            <a:xfrm>
              <a:off x="9738785" y="6661239"/>
              <a:ext cx="593093" cy="194626"/>
            </a:xfrm>
            <a:custGeom>
              <a:avLst/>
              <a:gdLst/>
              <a:ahLst/>
              <a:cxnLst/>
              <a:rect l="l" t="t" r="r" b="b"/>
              <a:pathLst>
                <a:path w="654050" h="214629">
                  <a:moveTo>
                    <a:pt x="326761" y="0"/>
                  </a:moveTo>
                  <a:lnTo>
                    <a:pt x="277990" y="3334"/>
                  </a:lnTo>
                  <a:lnTo>
                    <a:pt x="231213" y="13046"/>
                  </a:lnTo>
                  <a:lnTo>
                    <a:pt x="186858" y="28702"/>
                  </a:lnTo>
                  <a:lnTo>
                    <a:pt x="145354" y="49867"/>
                  </a:lnTo>
                  <a:lnTo>
                    <a:pt x="107129" y="76104"/>
                  </a:lnTo>
                  <a:lnTo>
                    <a:pt x="72611" y="106980"/>
                  </a:lnTo>
                  <a:lnTo>
                    <a:pt x="42229" y="142058"/>
                  </a:lnTo>
                  <a:lnTo>
                    <a:pt x="16410" y="180904"/>
                  </a:lnTo>
                  <a:lnTo>
                    <a:pt x="0" y="214139"/>
                  </a:lnTo>
                  <a:lnTo>
                    <a:pt x="653522" y="214139"/>
                  </a:lnTo>
                  <a:lnTo>
                    <a:pt x="611292" y="142058"/>
                  </a:lnTo>
                  <a:lnTo>
                    <a:pt x="580910" y="106980"/>
                  </a:lnTo>
                  <a:lnTo>
                    <a:pt x="546392" y="76104"/>
                  </a:lnTo>
                  <a:lnTo>
                    <a:pt x="508167" y="49867"/>
                  </a:lnTo>
                  <a:lnTo>
                    <a:pt x="466663" y="28702"/>
                  </a:lnTo>
                  <a:lnTo>
                    <a:pt x="422308" y="13046"/>
                  </a:lnTo>
                  <a:lnTo>
                    <a:pt x="375532" y="3334"/>
                  </a:lnTo>
                  <a:lnTo>
                    <a:pt x="326761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14">
            <a:extLst>
              <a:ext uri="{FF2B5EF4-FFF2-40B4-BE49-F238E27FC236}">
                <a16:creationId xmlns:a16="http://schemas.microsoft.com/office/drawing/2014/main" id="{E920B87E-EB30-C29A-7725-F098B0CD9403}"/>
              </a:ext>
            </a:extLst>
          </p:cNvPr>
          <p:cNvSpPr/>
          <p:nvPr/>
        </p:nvSpPr>
        <p:spPr>
          <a:xfrm rot="10800000">
            <a:off x="11050480" y="5292007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24627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87668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/>
        </p:nvSpPr>
        <p:spPr>
          <a:xfrm>
            <a:off x="8454618" y="-21266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C08C7F-F671-37EF-FA4F-14868BE5D34B}"/>
              </a:ext>
            </a:extLst>
          </p:cNvPr>
          <p:cNvGrpSpPr/>
          <p:nvPr/>
        </p:nvGrpSpPr>
        <p:grpSpPr>
          <a:xfrm>
            <a:off x="391375" y="5191214"/>
            <a:ext cx="2957963" cy="1664692"/>
            <a:chOff x="391375" y="5191214"/>
            <a:chExt cx="2957963" cy="1664692"/>
          </a:xfrm>
        </p:grpSpPr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7CF38E78-8B18-E2DD-57F6-5A3EBF4CFBF8}"/>
                </a:ext>
              </a:extLst>
            </p:cNvPr>
            <p:cNvSpPr/>
            <p:nvPr/>
          </p:nvSpPr>
          <p:spPr>
            <a:xfrm>
              <a:off x="1985572" y="6805678"/>
              <a:ext cx="238965" cy="50095"/>
            </a:xfrm>
            <a:custGeom>
              <a:avLst/>
              <a:gdLst/>
              <a:ahLst/>
              <a:cxnLst/>
              <a:rect l="l" t="t" r="r" b="b"/>
              <a:pathLst>
                <a:path w="263525" h="55245">
                  <a:moveTo>
                    <a:pt x="131560" y="0"/>
                  </a:moveTo>
                  <a:lnTo>
                    <a:pt x="87719" y="5131"/>
                  </a:lnTo>
                  <a:lnTo>
                    <a:pt x="47474" y="19749"/>
                  </a:lnTo>
                  <a:lnTo>
                    <a:pt x="11974" y="42686"/>
                  </a:lnTo>
                  <a:lnTo>
                    <a:pt x="0" y="54855"/>
                  </a:lnTo>
                  <a:lnTo>
                    <a:pt x="263121" y="54855"/>
                  </a:lnTo>
                  <a:lnTo>
                    <a:pt x="251147" y="42686"/>
                  </a:lnTo>
                  <a:lnTo>
                    <a:pt x="215647" y="19749"/>
                  </a:lnTo>
                  <a:lnTo>
                    <a:pt x="175402" y="5131"/>
                  </a:lnTo>
                  <a:lnTo>
                    <a:pt x="131560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01B1EF4C-ACBC-8DF2-F98F-A520632D49A8}"/>
                </a:ext>
              </a:extLst>
            </p:cNvPr>
            <p:cNvSpPr/>
            <p:nvPr/>
          </p:nvSpPr>
          <p:spPr>
            <a:xfrm>
              <a:off x="3002119" y="6641559"/>
              <a:ext cx="347219" cy="214205"/>
            </a:xfrm>
            <a:custGeom>
              <a:avLst/>
              <a:gdLst/>
              <a:ahLst/>
              <a:cxnLst/>
              <a:rect l="l" t="t" r="r" b="b"/>
              <a:pathLst>
                <a:path w="382904" h="2362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4706" y="235840"/>
                  </a:lnTo>
                  <a:lnTo>
                    <a:pt x="377689" y="235840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C69F5CB4-EE4D-3E00-9E24-A5394A4C5C0E}"/>
                </a:ext>
              </a:extLst>
            </p:cNvPr>
            <p:cNvSpPr/>
            <p:nvPr/>
          </p:nvSpPr>
          <p:spPr>
            <a:xfrm>
              <a:off x="2877401" y="6040817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4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D5CB64B5-EAB4-764D-E33F-11B3A4C5099E}"/>
                </a:ext>
              </a:extLst>
            </p:cNvPr>
            <p:cNvSpPr/>
            <p:nvPr/>
          </p:nvSpPr>
          <p:spPr>
            <a:xfrm>
              <a:off x="2210807" y="6183673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9">
              <a:extLst>
                <a:ext uri="{FF2B5EF4-FFF2-40B4-BE49-F238E27FC236}">
                  <a16:creationId xmlns:a16="http://schemas.microsoft.com/office/drawing/2014/main" id="{544E0DFF-B974-C185-F664-2BB8D65D3E1C}"/>
                </a:ext>
              </a:extLst>
            </p:cNvPr>
            <p:cNvSpPr/>
            <p:nvPr/>
          </p:nvSpPr>
          <p:spPr>
            <a:xfrm>
              <a:off x="1993834" y="5340502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0">
              <a:extLst>
                <a:ext uri="{FF2B5EF4-FFF2-40B4-BE49-F238E27FC236}">
                  <a16:creationId xmlns:a16="http://schemas.microsoft.com/office/drawing/2014/main" id="{BAF8C586-5508-CCC1-A9F6-94AC7AFA27D1}"/>
                </a:ext>
              </a:extLst>
            </p:cNvPr>
            <p:cNvSpPr/>
            <p:nvPr/>
          </p:nvSpPr>
          <p:spPr>
            <a:xfrm>
              <a:off x="391375" y="5191214"/>
              <a:ext cx="1400967" cy="1664692"/>
            </a:xfrm>
            <a:custGeom>
              <a:avLst/>
              <a:gdLst/>
              <a:ahLst/>
              <a:cxnLst/>
              <a:rect l="l" t="t" r="r" b="b"/>
              <a:pathLst>
                <a:path w="1544955" h="1835784">
                  <a:moveTo>
                    <a:pt x="925999" y="0"/>
                  </a:moveTo>
                  <a:lnTo>
                    <a:pt x="880349" y="10091"/>
                  </a:lnTo>
                  <a:lnTo>
                    <a:pt x="838161" y="31783"/>
                  </a:lnTo>
                  <a:lnTo>
                    <a:pt x="801852" y="64835"/>
                  </a:lnTo>
                  <a:lnTo>
                    <a:pt x="775520" y="106276"/>
                  </a:lnTo>
                  <a:lnTo>
                    <a:pt x="761475" y="151656"/>
                  </a:lnTo>
                  <a:lnTo>
                    <a:pt x="759491" y="198513"/>
                  </a:lnTo>
                  <a:lnTo>
                    <a:pt x="769344" y="244387"/>
                  </a:lnTo>
                  <a:lnTo>
                    <a:pt x="790808" y="286817"/>
                  </a:lnTo>
                  <a:lnTo>
                    <a:pt x="823658" y="323343"/>
                  </a:lnTo>
                  <a:lnTo>
                    <a:pt x="831988" y="330759"/>
                  </a:lnTo>
                  <a:lnTo>
                    <a:pt x="849099" y="347051"/>
                  </a:lnTo>
                  <a:lnTo>
                    <a:pt x="903479" y="405526"/>
                  </a:lnTo>
                  <a:lnTo>
                    <a:pt x="937656" y="447339"/>
                  </a:lnTo>
                  <a:lnTo>
                    <a:pt x="974430" y="497291"/>
                  </a:lnTo>
                  <a:lnTo>
                    <a:pt x="1012254" y="555196"/>
                  </a:lnTo>
                  <a:lnTo>
                    <a:pt x="1049583" y="620872"/>
                  </a:lnTo>
                  <a:lnTo>
                    <a:pt x="1084872" y="694132"/>
                  </a:lnTo>
                  <a:lnTo>
                    <a:pt x="513257" y="694132"/>
                  </a:lnTo>
                  <a:lnTo>
                    <a:pt x="463952" y="704088"/>
                  </a:lnTo>
                  <a:lnTo>
                    <a:pt x="423684" y="731237"/>
                  </a:lnTo>
                  <a:lnTo>
                    <a:pt x="396532" y="771504"/>
                  </a:lnTo>
                  <a:lnTo>
                    <a:pt x="386575" y="820815"/>
                  </a:lnTo>
                  <a:lnTo>
                    <a:pt x="396532" y="870120"/>
                  </a:lnTo>
                  <a:lnTo>
                    <a:pt x="423684" y="910388"/>
                  </a:lnTo>
                  <a:lnTo>
                    <a:pt x="463952" y="937540"/>
                  </a:lnTo>
                  <a:lnTo>
                    <a:pt x="513257" y="947497"/>
                  </a:lnTo>
                  <a:lnTo>
                    <a:pt x="1161059" y="947497"/>
                  </a:lnTo>
                  <a:lnTo>
                    <a:pt x="1168059" y="994539"/>
                  </a:lnTo>
                  <a:lnTo>
                    <a:pt x="1173078" y="1043098"/>
                  </a:lnTo>
                  <a:lnTo>
                    <a:pt x="1175954" y="1093166"/>
                  </a:lnTo>
                  <a:lnTo>
                    <a:pt x="1176527" y="1144733"/>
                  </a:lnTo>
                  <a:lnTo>
                    <a:pt x="1174633" y="1197788"/>
                  </a:lnTo>
                  <a:lnTo>
                    <a:pt x="1170114" y="1252323"/>
                  </a:lnTo>
                  <a:lnTo>
                    <a:pt x="1163053" y="1251103"/>
                  </a:lnTo>
                  <a:lnTo>
                    <a:pt x="1155890" y="1250138"/>
                  </a:lnTo>
                  <a:lnTo>
                    <a:pt x="126682" y="1250138"/>
                  </a:lnTo>
                  <a:lnTo>
                    <a:pt x="77372" y="1260095"/>
                  </a:lnTo>
                  <a:lnTo>
                    <a:pt x="37104" y="1287248"/>
                  </a:lnTo>
                  <a:lnTo>
                    <a:pt x="9955" y="1327516"/>
                  </a:lnTo>
                  <a:lnTo>
                    <a:pt x="0" y="1376821"/>
                  </a:lnTo>
                  <a:lnTo>
                    <a:pt x="9955" y="1426133"/>
                  </a:lnTo>
                  <a:lnTo>
                    <a:pt x="37104" y="1466405"/>
                  </a:lnTo>
                  <a:lnTo>
                    <a:pt x="77372" y="1493559"/>
                  </a:lnTo>
                  <a:lnTo>
                    <a:pt x="126682" y="1503516"/>
                  </a:lnTo>
                  <a:lnTo>
                    <a:pt x="1109611" y="1503516"/>
                  </a:lnTo>
                  <a:lnTo>
                    <a:pt x="1091637" y="1549292"/>
                  </a:lnTo>
                  <a:lnTo>
                    <a:pt x="1071709" y="1595118"/>
                  </a:lnTo>
                  <a:lnTo>
                    <a:pt x="1049893" y="1640986"/>
                  </a:lnTo>
                  <a:lnTo>
                    <a:pt x="1026255" y="1686883"/>
                  </a:lnTo>
                  <a:lnTo>
                    <a:pt x="1000859" y="1732802"/>
                  </a:lnTo>
                  <a:lnTo>
                    <a:pt x="973771" y="1778731"/>
                  </a:lnTo>
                  <a:lnTo>
                    <a:pt x="945057" y="1824661"/>
                  </a:lnTo>
                  <a:lnTo>
                    <a:pt x="182283" y="1824661"/>
                  </a:lnTo>
                  <a:lnTo>
                    <a:pt x="132972" y="1834618"/>
                  </a:lnTo>
                  <a:lnTo>
                    <a:pt x="132035" y="1835250"/>
                  </a:lnTo>
                  <a:lnTo>
                    <a:pt x="1365030" y="1835250"/>
                  </a:lnTo>
                  <a:lnTo>
                    <a:pt x="1398211" y="1767887"/>
                  </a:lnTo>
                  <a:lnTo>
                    <a:pt x="1416703" y="1726988"/>
                  </a:lnTo>
                  <a:lnTo>
                    <a:pt x="1434056" y="1685916"/>
                  </a:lnTo>
                  <a:lnTo>
                    <a:pt x="1450240" y="1644667"/>
                  </a:lnTo>
                  <a:lnTo>
                    <a:pt x="1465225" y="1603237"/>
                  </a:lnTo>
                  <a:lnTo>
                    <a:pt x="1478982" y="1561625"/>
                  </a:lnTo>
                  <a:lnTo>
                    <a:pt x="1491481" y="1519827"/>
                  </a:lnTo>
                  <a:lnTo>
                    <a:pt x="1502692" y="1477840"/>
                  </a:lnTo>
                  <a:lnTo>
                    <a:pt x="1512585" y="1435660"/>
                  </a:lnTo>
                  <a:lnTo>
                    <a:pt x="1521130" y="1393285"/>
                  </a:lnTo>
                  <a:lnTo>
                    <a:pt x="1528298" y="1350711"/>
                  </a:lnTo>
                  <a:lnTo>
                    <a:pt x="1534058" y="1307936"/>
                  </a:lnTo>
                  <a:lnTo>
                    <a:pt x="1541211" y="1230596"/>
                  </a:lnTo>
                  <a:lnTo>
                    <a:pt x="1544382" y="1155425"/>
                  </a:lnTo>
                  <a:lnTo>
                    <a:pt x="1543828" y="1082452"/>
                  </a:lnTo>
                  <a:lnTo>
                    <a:pt x="1539804" y="1011702"/>
                  </a:lnTo>
                  <a:lnTo>
                    <a:pt x="1532569" y="943204"/>
                  </a:lnTo>
                  <a:lnTo>
                    <a:pt x="1522380" y="876984"/>
                  </a:lnTo>
                  <a:lnTo>
                    <a:pt x="1509492" y="813069"/>
                  </a:lnTo>
                  <a:lnTo>
                    <a:pt x="1494164" y="751487"/>
                  </a:lnTo>
                  <a:lnTo>
                    <a:pt x="1476653" y="692264"/>
                  </a:lnTo>
                  <a:lnTo>
                    <a:pt x="1457214" y="635429"/>
                  </a:lnTo>
                  <a:lnTo>
                    <a:pt x="1436106" y="581007"/>
                  </a:lnTo>
                  <a:lnTo>
                    <a:pt x="1413584" y="529026"/>
                  </a:lnTo>
                  <a:lnTo>
                    <a:pt x="1389907" y="479514"/>
                  </a:lnTo>
                  <a:lnTo>
                    <a:pt x="1365331" y="432497"/>
                  </a:lnTo>
                  <a:lnTo>
                    <a:pt x="1340113" y="388002"/>
                  </a:lnTo>
                  <a:lnTo>
                    <a:pt x="1314510" y="346057"/>
                  </a:lnTo>
                  <a:lnTo>
                    <a:pt x="1288779" y="306688"/>
                  </a:lnTo>
                  <a:lnTo>
                    <a:pt x="1263177" y="269924"/>
                  </a:lnTo>
                  <a:lnTo>
                    <a:pt x="1237961" y="235790"/>
                  </a:lnTo>
                  <a:lnTo>
                    <a:pt x="1213388" y="204314"/>
                  </a:lnTo>
                  <a:lnTo>
                    <a:pt x="1167198" y="149446"/>
                  </a:lnTo>
                  <a:lnTo>
                    <a:pt x="1126663" y="105535"/>
                  </a:lnTo>
                  <a:lnTo>
                    <a:pt x="1093839" y="72800"/>
                  </a:lnTo>
                  <a:lnTo>
                    <a:pt x="1059548" y="41721"/>
                  </a:lnTo>
                  <a:lnTo>
                    <a:pt x="1018016" y="15575"/>
                  </a:lnTo>
                  <a:lnTo>
                    <a:pt x="972694" y="1748"/>
                  </a:lnTo>
                  <a:lnTo>
                    <a:pt x="925999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520" y="1882770"/>
            <a:ext cx="8910320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" y="6114954"/>
            <a:ext cx="8924387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4AA4F7D3-F6E8-EAB2-F7FF-BD27C0DB60AC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E917381C-8FE5-3CAD-273B-51DCDB6727F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6EC3B691-15D3-272C-C984-5D8D7AB4D44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26C44628-116B-F318-B8E0-DE32F2332BC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5" name="object 14">
            <a:extLst>
              <a:ext uri="{FF2B5EF4-FFF2-40B4-BE49-F238E27FC236}">
                <a16:creationId xmlns:a16="http://schemas.microsoft.com/office/drawing/2014/main" id="{45F4DC08-150F-4A25-716A-90191F21FDC9}"/>
              </a:ext>
            </a:extLst>
          </p:cNvPr>
          <p:cNvSpPr/>
          <p:nvPr/>
        </p:nvSpPr>
        <p:spPr>
          <a:xfrm rot="10800000">
            <a:off x="-308147" y="5862122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01D5C4C6-F307-4C2A-EEA2-C7230077C63A}"/>
              </a:ext>
            </a:extLst>
          </p:cNvPr>
          <p:cNvSpPr/>
          <p:nvPr/>
        </p:nvSpPr>
        <p:spPr>
          <a:xfrm rot="10800000">
            <a:off x="-650" y="6776735"/>
            <a:ext cx="360745" cy="37506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ED0436A5-966C-D05D-FD27-2ED35FF09750}"/>
              </a:ext>
            </a:extLst>
          </p:cNvPr>
          <p:cNvSpPr/>
          <p:nvPr/>
        </p:nvSpPr>
        <p:spPr>
          <a:xfrm rot="10800000">
            <a:off x="8761227" y="264563"/>
            <a:ext cx="262322" cy="27273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B1D59208-AF3F-67F9-AFEE-0B79028CDC85}"/>
              </a:ext>
            </a:extLst>
          </p:cNvPr>
          <p:cNvSpPr/>
          <p:nvPr/>
        </p:nvSpPr>
        <p:spPr>
          <a:xfrm rot="10800000">
            <a:off x="8268251" y="-287815"/>
            <a:ext cx="492976" cy="51254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870" y="593213"/>
            <a:ext cx="8910320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object 2">
            <a:extLst>
              <a:ext uri="{FF2B5EF4-FFF2-40B4-BE49-F238E27FC236}">
                <a16:creationId xmlns:a16="http://schemas.microsoft.com/office/drawing/2014/main" id="{ABA3D36A-41A6-EB06-04BF-0204CEF0F905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2" name="object 3">
            <a:extLst>
              <a:ext uri="{FF2B5EF4-FFF2-40B4-BE49-F238E27FC236}">
                <a16:creationId xmlns:a16="http://schemas.microsoft.com/office/drawing/2014/main" id="{C5E07131-4706-5A80-B8EC-2BEF62D9DEFB}"/>
              </a:ext>
            </a:extLst>
          </p:cNvPr>
          <p:cNvSpPr/>
          <p:nvPr userDrawn="1"/>
        </p:nvSpPr>
        <p:spPr>
          <a:xfrm>
            <a:off x="8454618" y="-21266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C5F0DDA-6BDE-15F8-44B6-E842BF6EEE14}"/>
              </a:ext>
            </a:extLst>
          </p:cNvPr>
          <p:cNvGrpSpPr/>
          <p:nvPr userDrawn="1"/>
        </p:nvGrpSpPr>
        <p:grpSpPr>
          <a:xfrm>
            <a:off x="391375" y="5191214"/>
            <a:ext cx="2957963" cy="1664692"/>
            <a:chOff x="391375" y="5191214"/>
            <a:chExt cx="2957963" cy="1664692"/>
          </a:xfrm>
        </p:grpSpPr>
        <p:sp>
          <p:nvSpPr>
            <p:cNvPr id="24" name="object 5">
              <a:extLst>
                <a:ext uri="{FF2B5EF4-FFF2-40B4-BE49-F238E27FC236}">
                  <a16:creationId xmlns:a16="http://schemas.microsoft.com/office/drawing/2014/main" id="{B8513173-4D82-E6EC-9752-5A98F6C300D9}"/>
                </a:ext>
              </a:extLst>
            </p:cNvPr>
            <p:cNvSpPr/>
            <p:nvPr/>
          </p:nvSpPr>
          <p:spPr>
            <a:xfrm>
              <a:off x="1985572" y="6805678"/>
              <a:ext cx="238965" cy="50095"/>
            </a:xfrm>
            <a:custGeom>
              <a:avLst/>
              <a:gdLst/>
              <a:ahLst/>
              <a:cxnLst/>
              <a:rect l="l" t="t" r="r" b="b"/>
              <a:pathLst>
                <a:path w="263525" h="55245">
                  <a:moveTo>
                    <a:pt x="131560" y="0"/>
                  </a:moveTo>
                  <a:lnTo>
                    <a:pt x="87719" y="5131"/>
                  </a:lnTo>
                  <a:lnTo>
                    <a:pt x="47474" y="19749"/>
                  </a:lnTo>
                  <a:lnTo>
                    <a:pt x="11974" y="42686"/>
                  </a:lnTo>
                  <a:lnTo>
                    <a:pt x="0" y="54855"/>
                  </a:lnTo>
                  <a:lnTo>
                    <a:pt x="263121" y="54855"/>
                  </a:lnTo>
                  <a:lnTo>
                    <a:pt x="251147" y="42686"/>
                  </a:lnTo>
                  <a:lnTo>
                    <a:pt x="215647" y="19749"/>
                  </a:lnTo>
                  <a:lnTo>
                    <a:pt x="175402" y="5131"/>
                  </a:lnTo>
                  <a:lnTo>
                    <a:pt x="131560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6">
              <a:extLst>
                <a:ext uri="{FF2B5EF4-FFF2-40B4-BE49-F238E27FC236}">
                  <a16:creationId xmlns:a16="http://schemas.microsoft.com/office/drawing/2014/main" id="{EA24E7F7-2D06-EB9A-3C82-375F0907CA11}"/>
                </a:ext>
              </a:extLst>
            </p:cNvPr>
            <p:cNvSpPr/>
            <p:nvPr/>
          </p:nvSpPr>
          <p:spPr>
            <a:xfrm>
              <a:off x="3002119" y="6641559"/>
              <a:ext cx="347219" cy="214205"/>
            </a:xfrm>
            <a:custGeom>
              <a:avLst/>
              <a:gdLst/>
              <a:ahLst/>
              <a:cxnLst/>
              <a:rect l="l" t="t" r="r" b="b"/>
              <a:pathLst>
                <a:path w="382904" h="2362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4706" y="235840"/>
                  </a:lnTo>
                  <a:lnTo>
                    <a:pt x="377689" y="235840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7">
              <a:extLst>
                <a:ext uri="{FF2B5EF4-FFF2-40B4-BE49-F238E27FC236}">
                  <a16:creationId xmlns:a16="http://schemas.microsoft.com/office/drawing/2014/main" id="{F7FC51A7-E3E0-1343-E733-6715F4761711}"/>
                </a:ext>
              </a:extLst>
            </p:cNvPr>
            <p:cNvSpPr/>
            <p:nvPr/>
          </p:nvSpPr>
          <p:spPr>
            <a:xfrm>
              <a:off x="2877401" y="6040817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4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8">
              <a:extLst>
                <a:ext uri="{FF2B5EF4-FFF2-40B4-BE49-F238E27FC236}">
                  <a16:creationId xmlns:a16="http://schemas.microsoft.com/office/drawing/2014/main" id="{F81D3A10-3B85-3653-7B1B-A751127AA5C4}"/>
                </a:ext>
              </a:extLst>
            </p:cNvPr>
            <p:cNvSpPr/>
            <p:nvPr/>
          </p:nvSpPr>
          <p:spPr>
            <a:xfrm>
              <a:off x="2210807" y="6183673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9">
              <a:extLst>
                <a:ext uri="{FF2B5EF4-FFF2-40B4-BE49-F238E27FC236}">
                  <a16:creationId xmlns:a16="http://schemas.microsoft.com/office/drawing/2014/main" id="{BC5F96AB-F328-6805-0C7D-46E8C79AFDE7}"/>
                </a:ext>
              </a:extLst>
            </p:cNvPr>
            <p:cNvSpPr/>
            <p:nvPr/>
          </p:nvSpPr>
          <p:spPr>
            <a:xfrm>
              <a:off x="1993834" y="5340502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0">
              <a:extLst>
                <a:ext uri="{FF2B5EF4-FFF2-40B4-BE49-F238E27FC236}">
                  <a16:creationId xmlns:a16="http://schemas.microsoft.com/office/drawing/2014/main" id="{E2C800D4-33ED-A356-045A-ED6CF0086288}"/>
                </a:ext>
              </a:extLst>
            </p:cNvPr>
            <p:cNvSpPr/>
            <p:nvPr/>
          </p:nvSpPr>
          <p:spPr>
            <a:xfrm>
              <a:off x="391375" y="5191214"/>
              <a:ext cx="1400967" cy="1664692"/>
            </a:xfrm>
            <a:custGeom>
              <a:avLst/>
              <a:gdLst/>
              <a:ahLst/>
              <a:cxnLst/>
              <a:rect l="l" t="t" r="r" b="b"/>
              <a:pathLst>
                <a:path w="1544955" h="1835784">
                  <a:moveTo>
                    <a:pt x="925999" y="0"/>
                  </a:moveTo>
                  <a:lnTo>
                    <a:pt x="880349" y="10091"/>
                  </a:lnTo>
                  <a:lnTo>
                    <a:pt x="838161" y="31783"/>
                  </a:lnTo>
                  <a:lnTo>
                    <a:pt x="801852" y="64835"/>
                  </a:lnTo>
                  <a:lnTo>
                    <a:pt x="775520" y="106276"/>
                  </a:lnTo>
                  <a:lnTo>
                    <a:pt x="761475" y="151656"/>
                  </a:lnTo>
                  <a:lnTo>
                    <a:pt x="759491" y="198513"/>
                  </a:lnTo>
                  <a:lnTo>
                    <a:pt x="769344" y="244387"/>
                  </a:lnTo>
                  <a:lnTo>
                    <a:pt x="790808" y="286817"/>
                  </a:lnTo>
                  <a:lnTo>
                    <a:pt x="823658" y="323343"/>
                  </a:lnTo>
                  <a:lnTo>
                    <a:pt x="831988" y="330759"/>
                  </a:lnTo>
                  <a:lnTo>
                    <a:pt x="849099" y="347051"/>
                  </a:lnTo>
                  <a:lnTo>
                    <a:pt x="903479" y="405526"/>
                  </a:lnTo>
                  <a:lnTo>
                    <a:pt x="937656" y="447339"/>
                  </a:lnTo>
                  <a:lnTo>
                    <a:pt x="974430" y="497291"/>
                  </a:lnTo>
                  <a:lnTo>
                    <a:pt x="1012254" y="555196"/>
                  </a:lnTo>
                  <a:lnTo>
                    <a:pt x="1049583" y="620872"/>
                  </a:lnTo>
                  <a:lnTo>
                    <a:pt x="1084872" y="694132"/>
                  </a:lnTo>
                  <a:lnTo>
                    <a:pt x="513257" y="694132"/>
                  </a:lnTo>
                  <a:lnTo>
                    <a:pt x="463952" y="704088"/>
                  </a:lnTo>
                  <a:lnTo>
                    <a:pt x="423684" y="731237"/>
                  </a:lnTo>
                  <a:lnTo>
                    <a:pt x="396532" y="771504"/>
                  </a:lnTo>
                  <a:lnTo>
                    <a:pt x="386575" y="820815"/>
                  </a:lnTo>
                  <a:lnTo>
                    <a:pt x="396532" y="870120"/>
                  </a:lnTo>
                  <a:lnTo>
                    <a:pt x="423684" y="910388"/>
                  </a:lnTo>
                  <a:lnTo>
                    <a:pt x="463952" y="937540"/>
                  </a:lnTo>
                  <a:lnTo>
                    <a:pt x="513257" y="947497"/>
                  </a:lnTo>
                  <a:lnTo>
                    <a:pt x="1161059" y="947497"/>
                  </a:lnTo>
                  <a:lnTo>
                    <a:pt x="1168059" y="994539"/>
                  </a:lnTo>
                  <a:lnTo>
                    <a:pt x="1173078" y="1043098"/>
                  </a:lnTo>
                  <a:lnTo>
                    <a:pt x="1175954" y="1093166"/>
                  </a:lnTo>
                  <a:lnTo>
                    <a:pt x="1176527" y="1144733"/>
                  </a:lnTo>
                  <a:lnTo>
                    <a:pt x="1174633" y="1197788"/>
                  </a:lnTo>
                  <a:lnTo>
                    <a:pt x="1170114" y="1252323"/>
                  </a:lnTo>
                  <a:lnTo>
                    <a:pt x="1163053" y="1251103"/>
                  </a:lnTo>
                  <a:lnTo>
                    <a:pt x="1155890" y="1250138"/>
                  </a:lnTo>
                  <a:lnTo>
                    <a:pt x="126682" y="1250138"/>
                  </a:lnTo>
                  <a:lnTo>
                    <a:pt x="77372" y="1260095"/>
                  </a:lnTo>
                  <a:lnTo>
                    <a:pt x="37104" y="1287248"/>
                  </a:lnTo>
                  <a:lnTo>
                    <a:pt x="9955" y="1327516"/>
                  </a:lnTo>
                  <a:lnTo>
                    <a:pt x="0" y="1376821"/>
                  </a:lnTo>
                  <a:lnTo>
                    <a:pt x="9955" y="1426133"/>
                  </a:lnTo>
                  <a:lnTo>
                    <a:pt x="37104" y="1466405"/>
                  </a:lnTo>
                  <a:lnTo>
                    <a:pt x="77372" y="1493559"/>
                  </a:lnTo>
                  <a:lnTo>
                    <a:pt x="126682" y="1503516"/>
                  </a:lnTo>
                  <a:lnTo>
                    <a:pt x="1109611" y="1503516"/>
                  </a:lnTo>
                  <a:lnTo>
                    <a:pt x="1091637" y="1549292"/>
                  </a:lnTo>
                  <a:lnTo>
                    <a:pt x="1071709" y="1595118"/>
                  </a:lnTo>
                  <a:lnTo>
                    <a:pt x="1049893" y="1640986"/>
                  </a:lnTo>
                  <a:lnTo>
                    <a:pt x="1026255" y="1686883"/>
                  </a:lnTo>
                  <a:lnTo>
                    <a:pt x="1000859" y="1732802"/>
                  </a:lnTo>
                  <a:lnTo>
                    <a:pt x="973771" y="1778731"/>
                  </a:lnTo>
                  <a:lnTo>
                    <a:pt x="945057" y="1824661"/>
                  </a:lnTo>
                  <a:lnTo>
                    <a:pt x="182283" y="1824661"/>
                  </a:lnTo>
                  <a:lnTo>
                    <a:pt x="132972" y="1834618"/>
                  </a:lnTo>
                  <a:lnTo>
                    <a:pt x="132035" y="1835250"/>
                  </a:lnTo>
                  <a:lnTo>
                    <a:pt x="1365030" y="1835250"/>
                  </a:lnTo>
                  <a:lnTo>
                    <a:pt x="1398211" y="1767887"/>
                  </a:lnTo>
                  <a:lnTo>
                    <a:pt x="1416703" y="1726988"/>
                  </a:lnTo>
                  <a:lnTo>
                    <a:pt x="1434056" y="1685916"/>
                  </a:lnTo>
                  <a:lnTo>
                    <a:pt x="1450240" y="1644667"/>
                  </a:lnTo>
                  <a:lnTo>
                    <a:pt x="1465225" y="1603237"/>
                  </a:lnTo>
                  <a:lnTo>
                    <a:pt x="1478982" y="1561625"/>
                  </a:lnTo>
                  <a:lnTo>
                    <a:pt x="1491481" y="1519827"/>
                  </a:lnTo>
                  <a:lnTo>
                    <a:pt x="1502692" y="1477840"/>
                  </a:lnTo>
                  <a:lnTo>
                    <a:pt x="1512585" y="1435660"/>
                  </a:lnTo>
                  <a:lnTo>
                    <a:pt x="1521130" y="1393285"/>
                  </a:lnTo>
                  <a:lnTo>
                    <a:pt x="1528298" y="1350711"/>
                  </a:lnTo>
                  <a:lnTo>
                    <a:pt x="1534058" y="1307936"/>
                  </a:lnTo>
                  <a:lnTo>
                    <a:pt x="1541211" y="1230596"/>
                  </a:lnTo>
                  <a:lnTo>
                    <a:pt x="1544382" y="1155425"/>
                  </a:lnTo>
                  <a:lnTo>
                    <a:pt x="1543828" y="1082452"/>
                  </a:lnTo>
                  <a:lnTo>
                    <a:pt x="1539804" y="1011702"/>
                  </a:lnTo>
                  <a:lnTo>
                    <a:pt x="1532569" y="943204"/>
                  </a:lnTo>
                  <a:lnTo>
                    <a:pt x="1522380" y="876984"/>
                  </a:lnTo>
                  <a:lnTo>
                    <a:pt x="1509492" y="813069"/>
                  </a:lnTo>
                  <a:lnTo>
                    <a:pt x="1494164" y="751487"/>
                  </a:lnTo>
                  <a:lnTo>
                    <a:pt x="1476653" y="692264"/>
                  </a:lnTo>
                  <a:lnTo>
                    <a:pt x="1457214" y="635429"/>
                  </a:lnTo>
                  <a:lnTo>
                    <a:pt x="1436106" y="581007"/>
                  </a:lnTo>
                  <a:lnTo>
                    <a:pt x="1413584" y="529026"/>
                  </a:lnTo>
                  <a:lnTo>
                    <a:pt x="1389907" y="479514"/>
                  </a:lnTo>
                  <a:lnTo>
                    <a:pt x="1365331" y="432497"/>
                  </a:lnTo>
                  <a:lnTo>
                    <a:pt x="1340113" y="388002"/>
                  </a:lnTo>
                  <a:lnTo>
                    <a:pt x="1314510" y="346057"/>
                  </a:lnTo>
                  <a:lnTo>
                    <a:pt x="1288779" y="306688"/>
                  </a:lnTo>
                  <a:lnTo>
                    <a:pt x="1263177" y="269924"/>
                  </a:lnTo>
                  <a:lnTo>
                    <a:pt x="1237961" y="235790"/>
                  </a:lnTo>
                  <a:lnTo>
                    <a:pt x="1213388" y="204314"/>
                  </a:lnTo>
                  <a:lnTo>
                    <a:pt x="1167198" y="149446"/>
                  </a:lnTo>
                  <a:lnTo>
                    <a:pt x="1126663" y="105535"/>
                  </a:lnTo>
                  <a:lnTo>
                    <a:pt x="1093839" y="72800"/>
                  </a:lnTo>
                  <a:lnTo>
                    <a:pt x="1059548" y="41721"/>
                  </a:lnTo>
                  <a:lnTo>
                    <a:pt x="1018016" y="15575"/>
                  </a:lnTo>
                  <a:lnTo>
                    <a:pt x="972694" y="1748"/>
                  </a:lnTo>
                  <a:lnTo>
                    <a:pt x="925999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" name="object 41">
            <a:extLst>
              <a:ext uri="{FF2B5EF4-FFF2-40B4-BE49-F238E27FC236}">
                <a16:creationId xmlns:a16="http://schemas.microsoft.com/office/drawing/2014/main" id="{7475C2EF-B4B4-3FD1-CD48-65438EEAD1AE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32" name="object 42">
              <a:extLst>
                <a:ext uri="{FF2B5EF4-FFF2-40B4-BE49-F238E27FC236}">
                  <a16:creationId xmlns:a16="http://schemas.microsoft.com/office/drawing/2014/main" id="{ADDB0BCB-D1B6-7C09-E2C7-ED5D0171AE74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33" name="object 43">
              <a:extLst>
                <a:ext uri="{FF2B5EF4-FFF2-40B4-BE49-F238E27FC236}">
                  <a16:creationId xmlns:a16="http://schemas.microsoft.com/office/drawing/2014/main" id="{C084F76C-513D-4444-D3E9-B5C82836FC0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34" name="object 44">
              <a:extLst>
                <a:ext uri="{FF2B5EF4-FFF2-40B4-BE49-F238E27FC236}">
                  <a16:creationId xmlns:a16="http://schemas.microsoft.com/office/drawing/2014/main" id="{CA3F85B3-05EF-5E93-05CC-93E5F02491E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5" name="object 14">
            <a:extLst>
              <a:ext uri="{FF2B5EF4-FFF2-40B4-BE49-F238E27FC236}">
                <a16:creationId xmlns:a16="http://schemas.microsoft.com/office/drawing/2014/main" id="{BEC887DF-5D19-EBC4-7DE6-4770FC12AD83}"/>
              </a:ext>
            </a:extLst>
          </p:cNvPr>
          <p:cNvSpPr/>
          <p:nvPr userDrawn="1"/>
        </p:nvSpPr>
        <p:spPr>
          <a:xfrm rot="10800000">
            <a:off x="-308147" y="5862122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7777E70F-AB63-0485-61F5-BC267ADCD284}"/>
              </a:ext>
            </a:extLst>
          </p:cNvPr>
          <p:cNvSpPr/>
          <p:nvPr userDrawn="1"/>
        </p:nvSpPr>
        <p:spPr>
          <a:xfrm rot="10800000">
            <a:off x="-650" y="6776735"/>
            <a:ext cx="360745" cy="37506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14">
            <a:extLst>
              <a:ext uri="{FF2B5EF4-FFF2-40B4-BE49-F238E27FC236}">
                <a16:creationId xmlns:a16="http://schemas.microsoft.com/office/drawing/2014/main" id="{0C686E71-759B-693A-D245-6D8E12F7DFA8}"/>
              </a:ext>
            </a:extLst>
          </p:cNvPr>
          <p:cNvSpPr/>
          <p:nvPr userDrawn="1"/>
        </p:nvSpPr>
        <p:spPr>
          <a:xfrm rot="10800000">
            <a:off x="8761227" y="264563"/>
            <a:ext cx="262322" cy="27273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14">
            <a:extLst>
              <a:ext uri="{FF2B5EF4-FFF2-40B4-BE49-F238E27FC236}">
                <a16:creationId xmlns:a16="http://schemas.microsoft.com/office/drawing/2014/main" id="{18A25734-D3EB-0172-481E-8BF15BD8CDD6}"/>
              </a:ext>
            </a:extLst>
          </p:cNvPr>
          <p:cNvSpPr/>
          <p:nvPr userDrawn="1"/>
        </p:nvSpPr>
        <p:spPr>
          <a:xfrm rot="10800000">
            <a:off x="8268251" y="-287815"/>
            <a:ext cx="492976" cy="51254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967004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520" y="365125"/>
            <a:ext cx="6475989" cy="4355493"/>
          </a:xfrm>
        </p:spPr>
        <p:txBody>
          <a:bodyPr anchor="t" anchorCtr="0">
            <a:normAutofit/>
          </a:bodyPr>
          <a:lstStyle>
            <a:lvl1pPr>
              <a:defRPr sz="44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520" y="4862945"/>
            <a:ext cx="6475989" cy="49137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6347" y="6127750"/>
            <a:ext cx="892732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F387DD09-C436-5F8E-8C10-75D345EE965A}"/>
              </a:ext>
            </a:extLst>
          </p:cNvPr>
          <p:cNvSpPr/>
          <p:nvPr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18F957B6-7079-82AD-0A3D-0DF1EE942870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796238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835" y="365125"/>
            <a:ext cx="7232073" cy="4355493"/>
          </a:xfrm>
        </p:spPr>
        <p:txBody>
          <a:bodyPr anchor="t" anchorCtr="0">
            <a:normAutofit/>
          </a:bodyPr>
          <a:lstStyle>
            <a:lvl1pPr algn="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1836" y="4862945"/>
            <a:ext cx="7232072" cy="440575"/>
          </a:xfrm>
        </p:spPr>
        <p:txBody>
          <a:bodyPr anchor="t" anchorCtr="0">
            <a:normAutofit/>
          </a:bodyPr>
          <a:lstStyle>
            <a:lvl1pPr marL="0" indent="0" algn="r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840" y="6127750"/>
            <a:ext cx="88900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FB453B0D-C8DF-80FC-EEDE-35EBA33A3EB9}"/>
              </a:ext>
            </a:extLst>
          </p:cNvPr>
          <p:cNvSpPr/>
          <p:nvPr/>
        </p:nvSpPr>
        <p:spPr>
          <a:xfrm>
            <a:off x="108938" y="-20309"/>
            <a:ext cx="3349537" cy="4281787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0A7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FA951FC-1E6C-951C-1E5C-14FF1A1762F3}"/>
              </a:ext>
            </a:extLst>
          </p:cNvPr>
          <p:cNvSpPr/>
          <p:nvPr userDrawn="1"/>
        </p:nvSpPr>
        <p:spPr>
          <a:xfrm>
            <a:off x="108938" y="-20309"/>
            <a:ext cx="3349537" cy="4281787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0A79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533072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365125"/>
            <a:ext cx="6479308" cy="4355493"/>
          </a:xfrm>
        </p:spPr>
        <p:txBody>
          <a:bodyPr anchor="t" anchorCtr="0">
            <a:norm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862945"/>
            <a:ext cx="6479307" cy="50153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127750"/>
            <a:ext cx="89306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BACCD77F-6A9E-76FD-8A3A-2FBB9E8A1FB5}"/>
              </a:ext>
            </a:extLst>
          </p:cNvPr>
          <p:cNvSpPr/>
          <p:nvPr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9D62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621FA3EA-F605-A56F-5445-C68FE2BCC347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9D62E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765656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C7B287D-6B69-02D5-6050-7FEFF483FD0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54500" y="62408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EDCDDA5-3A8E-2128-C19E-103FF1AA9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22722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673720-C835-BE5C-5C80-3FD8DB241F01}"/>
              </a:ext>
            </a:extLst>
          </p:cNvPr>
          <p:cNvSpPr/>
          <p:nvPr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46D95486-8AE6-9324-FF15-FB06241C299A}"/>
              </a:ext>
            </a:extLst>
          </p:cNvPr>
          <p:cNvSpPr/>
          <p:nvPr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EE743A1-10E0-9B86-6AD1-E9B92D62DCE7}"/>
              </a:ext>
            </a:extLst>
          </p:cNvPr>
          <p:cNvSpPr/>
          <p:nvPr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E8D99936-C791-EC50-A678-76F12A1EC831}"/>
              </a:ext>
            </a:extLst>
          </p:cNvPr>
          <p:cNvSpPr/>
          <p:nvPr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3A7B13D2-0D85-68C1-7844-658E315F6177}"/>
              </a:ext>
            </a:extLst>
          </p:cNvPr>
          <p:cNvSpPr/>
          <p:nvPr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01DC0EFC-6C93-BFA0-523B-FE355A921294}"/>
              </a:ext>
            </a:extLst>
          </p:cNvPr>
          <p:cNvSpPr/>
          <p:nvPr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34D1CC05-DC4E-8B38-D132-6D0E40FCB802}"/>
              </a:ext>
            </a:extLst>
          </p:cNvPr>
          <p:cNvSpPr/>
          <p:nvPr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3439139F-F645-CA8D-5BF1-27B8526442E2}"/>
              </a:ext>
            </a:extLst>
          </p:cNvPr>
          <p:cNvSpPr/>
          <p:nvPr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C70859E-DCA5-87BD-ACBD-C84DD8CAD7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965953D-FE9D-4CC7-8DA0-75C83642EE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086041" y="43104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5546EC1-A810-BD21-641C-B8D3468803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80B015F-1A06-9783-C83F-0B002E388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841" y="28384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51A5D56E-DBD3-9913-36EC-0C0A5354E6A2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2DBD4BD7-443D-7052-DEF6-D9ED445C7E8B}"/>
              </a:ext>
            </a:extLst>
          </p:cNvPr>
          <p:cNvSpPr/>
          <p:nvPr userDrawn="1"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9460AF2D-96BD-BFAB-E677-3F9041464096}"/>
              </a:ext>
            </a:extLst>
          </p:cNvPr>
          <p:cNvSpPr/>
          <p:nvPr userDrawn="1"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7C65CC1C-9173-FC6F-B2A2-CB88DFAB3E58}"/>
              </a:ext>
            </a:extLst>
          </p:cNvPr>
          <p:cNvSpPr/>
          <p:nvPr userDrawn="1"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59CADF1D-894D-5C49-5DA9-470AF9C62994}"/>
              </a:ext>
            </a:extLst>
          </p:cNvPr>
          <p:cNvSpPr/>
          <p:nvPr userDrawn="1"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id="{133FA3CB-97D7-20A7-2D94-1B99AE8D532A}"/>
              </a:ext>
            </a:extLst>
          </p:cNvPr>
          <p:cNvSpPr/>
          <p:nvPr userDrawn="1"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4837FFCE-4E17-D038-A8D6-4161BFC32C63}"/>
              </a:ext>
            </a:extLst>
          </p:cNvPr>
          <p:cNvSpPr/>
          <p:nvPr userDrawn="1"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792CA1DB-DCC1-0512-986D-D08B174AADB7}"/>
              </a:ext>
            </a:extLst>
          </p:cNvPr>
          <p:cNvSpPr/>
          <p:nvPr userDrawn="1"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4">
            <a:extLst>
              <a:ext uri="{FF2B5EF4-FFF2-40B4-BE49-F238E27FC236}">
                <a16:creationId xmlns:a16="http://schemas.microsoft.com/office/drawing/2014/main" id="{4E271C74-2197-00C1-0024-4B4C99371E79}"/>
              </a:ext>
            </a:extLst>
          </p:cNvPr>
          <p:cNvSpPr/>
          <p:nvPr userDrawn="1"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4" name="Picture 23" descr="A picture containing text&#10;&#10;Description automatically generated">
            <a:extLst>
              <a:ext uri="{FF2B5EF4-FFF2-40B4-BE49-F238E27FC236}">
                <a16:creationId xmlns:a16="http://schemas.microsoft.com/office/drawing/2014/main" id="{7BE68DBB-1D13-2044-D264-A0DADC1DC9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3154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0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/>
        </p:nvGrpSpPr>
        <p:grpSpPr>
          <a:xfrm>
            <a:off x="9597" y="4222076"/>
            <a:ext cx="5495304" cy="2633814"/>
            <a:chOff x="9597" y="4222076"/>
            <a:chExt cx="5495304" cy="2633814"/>
          </a:xfrm>
          <a:solidFill>
            <a:srgbClr val="FFFFFF">
              <a:alpha val="14902"/>
            </a:srgbClr>
          </a:solidFill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0C06F99-8172-DCE1-7EFE-FF4F105EC10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937730" y="-624301"/>
            <a:ext cx="8682510" cy="856593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D5A134A-9500-7361-A12A-6B671873C9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B2A364B-A6CD-5EAF-DE9C-A1C82F55A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543559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EDB03B7B-839F-6CC9-D185-639604C4372A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84AD9CA-9028-3EB2-FC80-39C2984293F3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2BA120E8-6431-DE28-0883-1CF28290FE98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5B0E1D81-5971-3EA8-21A1-20D05C2740AD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C6B5C6EA-F52E-0F38-5E15-B32DB647FD4E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2885A8A7-5C2A-791F-7661-51E0744762DF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B5F73AA4-4B21-CA3B-9AA8-7F05A8839EFA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FA8B67B5-CB67-98AE-64BF-62D73D499D46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0">
              <a:extLst>
                <a:ext uri="{FF2B5EF4-FFF2-40B4-BE49-F238E27FC236}">
                  <a16:creationId xmlns:a16="http://schemas.microsoft.com/office/drawing/2014/main" id="{CFF96B8C-AA96-337F-223A-E39FD071FFB3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0513915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/>
        </p:nvGrpSpPr>
        <p:grpSpPr>
          <a:xfrm>
            <a:off x="9598" y="0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E02B544-A40A-C2C8-B48C-6F244BD0DFB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84881" y="-715900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A84FDF-B4A9-904D-3D86-7133D1D60D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367280"/>
            <a:ext cx="5360276" cy="3657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D8A16EC-8618-0864-AC9B-EAB51A18B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881" y="1483360"/>
            <a:ext cx="6492239" cy="75596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7325730B-C78F-A713-3673-F296DF7C9D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08DFE56-7874-076A-CB0B-720AB2BE84F8}"/>
              </a:ext>
            </a:extLst>
          </p:cNvPr>
          <p:cNvGrpSpPr/>
          <p:nvPr userDrawn="1"/>
        </p:nvGrpSpPr>
        <p:grpSpPr>
          <a:xfrm>
            <a:off x="9598" y="0"/>
            <a:ext cx="5429576" cy="1714213"/>
            <a:chOff x="9598" y="0"/>
            <a:chExt cx="5429576" cy="1714213"/>
          </a:xfrm>
        </p:grpSpPr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C0F4D79E-2D18-56C8-F871-BC44FC45AFE0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4">
              <a:extLst>
                <a:ext uri="{FF2B5EF4-FFF2-40B4-BE49-F238E27FC236}">
                  <a16:creationId xmlns:a16="http://schemas.microsoft.com/office/drawing/2014/main" id="{4BCE89C0-24D3-C1EA-2B73-56CAF12ABD26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5">
              <a:extLst>
                <a:ext uri="{FF2B5EF4-FFF2-40B4-BE49-F238E27FC236}">
                  <a16:creationId xmlns:a16="http://schemas.microsoft.com/office/drawing/2014/main" id="{0CEFF071-BDDD-8125-B20A-438C4273FD79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6">
              <a:extLst>
                <a:ext uri="{FF2B5EF4-FFF2-40B4-BE49-F238E27FC236}">
                  <a16:creationId xmlns:a16="http://schemas.microsoft.com/office/drawing/2014/main" id="{8BF92551-6214-1E05-9F1D-EA48AD4E60E5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7">
              <a:extLst>
                <a:ext uri="{FF2B5EF4-FFF2-40B4-BE49-F238E27FC236}">
                  <a16:creationId xmlns:a16="http://schemas.microsoft.com/office/drawing/2014/main" id="{53B4343F-C30D-C898-A38A-2625FF1AB5B5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8">
              <a:extLst>
                <a:ext uri="{FF2B5EF4-FFF2-40B4-BE49-F238E27FC236}">
                  <a16:creationId xmlns:a16="http://schemas.microsoft.com/office/drawing/2014/main" id="{996A0EB8-0D8F-82BC-0C64-8B21E5CFF5DB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6028977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7467FD7-B03A-A783-6DAD-BFE1F429ED7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249137" y="-881221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C0E5294-F5B4-77CF-A37F-AB562DD1B1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661920"/>
            <a:ext cx="5634596" cy="3078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39FECD-897F-06F3-56D7-FC72D58F9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8881" y="1615440"/>
            <a:ext cx="5709919" cy="90709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7104AB86-90EF-0294-9AA5-460BD57955DA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9" name="object 41">
            <a:extLst>
              <a:ext uri="{FF2B5EF4-FFF2-40B4-BE49-F238E27FC236}">
                <a16:creationId xmlns:a16="http://schemas.microsoft.com/office/drawing/2014/main" id="{21B0E410-7289-7563-1129-B10BAEC95198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10" name="object 42">
              <a:extLst>
                <a:ext uri="{FF2B5EF4-FFF2-40B4-BE49-F238E27FC236}">
                  <a16:creationId xmlns:a16="http://schemas.microsoft.com/office/drawing/2014/main" id="{3E51A735-0B8F-5411-AF34-26991BCF98C7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11" name="object 43">
              <a:extLst>
                <a:ext uri="{FF2B5EF4-FFF2-40B4-BE49-F238E27FC236}">
                  <a16:creationId xmlns:a16="http://schemas.microsoft.com/office/drawing/2014/main" id="{2A67288D-75C2-2C04-94F1-809AB4B8C7B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2" name="object 44">
              <a:extLst>
                <a:ext uri="{FF2B5EF4-FFF2-40B4-BE49-F238E27FC236}">
                  <a16:creationId xmlns:a16="http://schemas.microsoft.com/office/drawing/2014/main" id="{8F06BBA3-9E20-313C-B0F9-D0265D25507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D7FE546-2502-16CB-3335-EFA4F4188C0E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15" name="object 3">
              <a:extLst>
                <a:ext uri="{FF2B5EF4-FFF2-40B4-BE49-F238E27FC236}">
                  <a16:creationId xmlns:a16="http://schemas.microsoft.com/office/drawing/2014/main" id="{650428B1-1085-48FC-CB67-10C1239B299C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4">
              <a:extLst>
                <a:ext uri="{FF2B5EF4-FFF2-40B4-BE49-F238E27FC236}">
                  <a16:creationId xmlns:a16="http://schemas.microsoft.com/office/drawing/2014/main" id="{C51460D7-9679-FC4D-7819-4D0592E363D1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5">
              <a:extLst>
                <a:ext uri="{FF2B5EF4-FFF2-40B4-BE49-F238E27FC236}">
                  <a16:creationId xmlns:a16="http://schemas.microsoft.com/office/drawing/2014/main" id="{301731FF-510B-3CD4-752B-4B4A9C40D049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6">
              <a:extLst>
                <a:ext uri="{FF2B5EF4-FFF2-40B4-BE49-F238E27FC236}">
                  <a16:creationId xmlns:a16="http://schemas.microsoft.com/office/drawing/2014/main" id="{9DDEEF0C-E7FB-4542-1E7B-CF9B5F0DCA91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7">
              <a:extLst>
                <a:ext uri="{FF2B5EF4-FFF2-40B4-BE49-F238E27FC236}">
                  <a16:creationId xmlns:a16="http://schemas.microsoft.com/office/drawing/2014/main" id="{D0210E62-B8EA-7F9F-54E0-55E06C4EA9A3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8">
              <a:extLst>
                <a:ext uri="{FF2B5EF4-FFF2-40B4-BE49-F238E27FC236}">
                  <a16:creationId xmlns:a16="http://schemas.microsoft.com/office/drawing/2014/main" id="{4B7262C9-1B10-0876-9851-2485E19DFF19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120385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-121920" y="-4957"/>
            <a:ext cx="1231976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/>
        </p:nvGrpSpPr>
        <p:grpSpPr>
          <a:xfrm>
            <a:off x="-121920" y="-389572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6294C19-5D10-1A71-B204-31C0C2A5477A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69931" y="-897413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4356BD6-1C5C-9AA4-5362-F5FAC5EFE6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6EAF454-36EC-DCFE-55B7-5195E0BEF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BE5C960C-B9E6-561F-EA93-857718D18D08}"/>
              </a:ext>
            </a:extLst>
          </p:cNvPr>
          <p:cNvSpPr/>
          <p:nvPr userDrawn="1"/>
        </p:nvSpPr>
        <p:spPr>
          <a:xfrm>
            <a:off x="-121920" y="-4957"/>
            <a:ext cx="1231976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9CEC4FB-9D74-41CB-C500-B3D3BEF9C38D}"/>
              </a:ext>
            </a:extLst>
          </p:cNvPr>
          <p:cNvGrpSpPr/>
          <p:nvPr userDrawn="1"/>
        </p:nvGrpSpPr>
        <p:grpSpPr>
          <a:xfrm>
            <a:off x="-121920" y="-389572"/>
            <a:ext cx="5429576" cy="1714213"/>
            <a:chOff x="9598" y="0"/>
            <a:chExt cx="5429576" cy="1714213"/>
          </a:xfrm>
        </p:grpSpPr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F952FECD-6F28-5994-7BBA-27515A960CB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4">
              <a:extLst>
                <a:ext uri="{FF2B5EF4-FFF2-40B4-BE49-F238E27FC236}">
                  <a16:creationId xmlns:a16="http://schemas.microsoft.com/office/drawing/2014/main" id="{3DBD27DF-EF8A-87E9-E010-E5A75B3F9116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5">
              <a:extLst>
                <a:ext uri="{FF2B5EF4-FFF2-40B4-BE49-F238E27FC236}">
                  <a16:creationId xmlns:a16="http://schemas.microsoft.com/office/drawing/2014/main" id="{8531BF24-4A29-EB77-F212-F214597327C7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6">
              <a:extLst>
                <a:ext uri="{FF2B5EF4-FFF2-40B4-BE49-F238E27FC236}">
                  <a16:creationId xmlns:a16="http://schemas.microsoft.com/office/drawing/2014/main" id="{8A4F2F89-495F-0EF2-AA35-DBE195A3B953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7">
              <a:extLst>
                <a:ext uri="{FF2B5EF4-FFF2-40B4-BE49-F238E27FC236}">
                  <a16:creationId xmlns:a16="http://schemas.microsoft.com/office/drawing/2014/main" id="{916FB009-44B2-A5CA-E609-38CCEE340156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8">
              <a:extLst>
                <a:ext uri="{FF2B5EF4-FFF2-40B4-BE49-F238E27FC236}">
                  <a16:creationId xmlns:a16="http://schemas.microsoft.com/office/drawing/2014/main" id="{F89CD479-C918-DFCF-AF1F-C4A33FC1A9C2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337379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3EBB3160-CA27-C8B6-D23F-CD3FF6DEF018}"/>
              </a:ext>
            </a:extLst>
          </p:cNvPr>
          <p:cNvSpPr/>
          <p:nvPr userDrawn="1"/>
        </p:nvSpPr>
        <p:spPr>
          <a:xfrm>
            <a:off x="0" y="2304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E5C77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41">
            <a:extLst>
              <a:ext uri="{FF2B5EF4-FFF2-40B4-BE49-F238E27FC236}">
                <a16:creationId xmlns:a16="http://schemas.microsoft.com/office/drawing/2014/main" id="{1F265747-21F4-F8D5-7000-0C7551B15B3B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7" name="object 42">
              <a:extLst>
                <a:ext uri="{FF2B5EF4-FFF2-40B4-BE49-F238E27FC236}">
                  <a16:creationId xmlns:a16="http://schemas.microsoft.com/office/drawing/2014/main" id="{E1D2DE1E-9BDB-B3F5-F4EF-84B8C6E7614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8" name="object 43">
              <a:extLst>
                <a:ext uri="{FF2B5EF4-FFF2-40B4-BE49-F238E27FC236}">
                  <a16:creationId xmlns:a16="http://schemas.microsoft.com/office/drawing/2014/main" id="{5D372F6C-7566-B498-043D-AF7E960D8B5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9" name="object 44">
              <a:extLst>
                <a:ext uri="{FF2B5EF4-FFF2-40B4-BE49-F238E27FC236}">
                  <a16:creationId xmlns:a16="http://schemas.microsoft.com/office/drawing/2014/main" id="{1E0FB701-E23F-08F2-0FF8-429E562EFBA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0" name="bg object 22">
            <a:extLst>
              <a:ext uri="{FF2B5EF4-FFF2-40B4-BE49-F238E27FC236}">
                <a16:creationId xmlns:a16="http://schemas.microsoft.com/office/drawing/2014/main" id="{E49E1922-67A9-AF82-FCD4-D491460A739C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179DA6-2F44-5B6F-989D-DAE932BB98EB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12" name="bg object 23">
              <a:extLst>
                <a:ext uri="{FF2B5EF4-FFF2-40B4-BE49-F238E27FC236}">
                  <a16:creationId xmlns:a16="http://schemas.microsoft.com/office/drawing/2014/main" id="{012FF536-9F0D-1AF8-B975-16A4030FE206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g object 24">
              <a:extLst>
                <a:ext uri="{FF2B5EF4-FFF2-40B4-BE49-F238E27FC236}">
                  <a16:creationId xmlns:a16="http://schemas.microsoft.com/office/drawing/2014/main" id="{DC9193E7-CBF6-B6CC-E025-5DABC39F5ECA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bg object 25">
              <a:extLst>
                <a:ext uri="{FF2B5EF4-FFF2-40B4-BE49-F238E27FC236}">
                  <a16:creationId xmlns:a16="http://schemas.microsoft.com/office/drawing/2014/main" id="{C1499BA4-E8C7-3B13-EB73-D7E5A024F6F1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bg object 26">
              <a:extLst>
                <a:ext uri="{FF2B5EF4-FFF2-40B4-BE49-F238E27FC236}">
                  <a16:creationId xmlns:a16="http://schemas.microsoft.com/office/drawing/2014/main" id="{BAF2F270-F520-5256-1A13-88753B966785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bg object 27">
              <a:extLst>
                <a:ext uri="{FF2B5EF4-FFF2-40B4-BE49-F238E27FC236}">
                  <a16:creationId xmlns:a16="http://schemas.microsoft.com/office/drawing/2014/main" id="{8680BA9C-5F31-C21D-A980-22CC149FCB08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28">
              <a:extLst>
                <a:ext uri="{FF2B5EF4-FFF2-40B4-BE49-F238E27FC236}">
                  <a16:creationId xmlns:a16="http://schemas.microsoft.com/office/drawing/2014/main" id="{764DA62F-52BC-833A-C4DD-A842EB4C2F92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bg object 29">
              <a:extLst>
                <a:ext uri="{FF2B5EF4-FFF2-40B4-BE49-F238E27FC236}">
                  <a16:creationId xmlns:a16="http://schemas.microsoft.com/office/drawing/2014/main" id="{3E3A813A-BC09-90A1-0126-A506AD1F20D3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bg object 30">
              <a:extLst>
                <a:ext uri="{FF2B5EF4-FFF2-40B4-BE49-F238E27FC236}">
                  <a16:creationId xmlns:a16="http://schemas.microsoft.com/office/drawing/2014/main" id="{D80260F0-006F-80ED-A187-F278F9CDEA7B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bg object 31">
              <a:extLst>
                <a:ext uri="{FF2B5EF4-FFF2-40B4-BE49-F238E27FC236}">
                  <a16:creationId xmlns:a16="http://schemas.microsoft.com/office/drawing/2014/main" id="{E23A1099-90BC-41AF-13CD-F62E1BE0DB67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0901D-0772-6483-D106-1C6C5F3B0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696" y="6114954"/>
            <a:ext cx="887821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653" y="365125"/>
            <a:ext cx="8547587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652" y="1825625"/>
            <a:ext cx="8547587" cy="3772535"/>
          </a:xfrm>
        </p:spPr>
        <p:txBody>
          <a:bodyPr>
            <a:normAutofit/>
          </a:bodyPr>
          <a:lstStyle>
            <a:lvl1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2pPr>
            <a:lvl3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3pPr>
            <a:lvl4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4pPr>
            <a:lvl5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2FB7BBB5-8E7B-2C74-9A01-95D1F0F194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5067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6A941DA-EEFE-1DF4-35CF-14C8B0F4F25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635760" y="-683147"/>
            <a:ext cx="7573873" cy="721259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18BAC3E-9C24-5719-CA3D-F7A0323717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9A3552-8D5D-6609-37CC-BB86F389B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1" y="77152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44403123-7EF7-8960-577A-D9993356EEDD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9" name="object 41">
            <a:extLst>
              <a:ext uri="{FF2B5EF4-FFF2-40B4-BE49-F238E27FC236}">
                <a16:creationId xmlns:a16="http://schemas.microsoft.com/office/drawing/2014/main" id="{9CB4CD4F-6514-A70E-40F9-1E7884453545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10" name="object 42">
              <a:extLst>
                <a:ext uri="{FF2B5EF4-FFF2-40B4-BE49-F238E27FC236}">
                  <a16:creationId xmlns:a16="http://schemas.microsoft.com/office/drawing/2014/main" id="{30E32E3F-A29C-49D4-AEAD-99566FA43EE4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11" name="object 43">
              <a:extLst>
                <a:ext uri="{FF2B5EF4-FFF2-40B4-BE49-F238E27FC236}">
                  <a16:creationId xmlns:a16="http://schemas.microsoft.com/office/drawing/2014/main" id="{22CD1B11-0076-0CDC-0250-A0BE6CA04D2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2" name="object 44">
              <a:extLst>
                <a:ext uri="{FF2B5EF4-FFF2-40B4-BE49-F238E27FC236}">
                  <a16:creationId xmlns:a16="http://schemas.microsoft.com/office/drawing/2014/main" id="{CB833E53-F6EF-7C32-6773-B6F8D7BBE9D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4712587-A641-B2DF-E13C-D31D94DFFDFE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15" name="object 3">
              <a:extLst>
                <a:ext uri="{FF2B5EF4-FFF2-40B4-BE49-F238E27FC236}">
                  <a16:creationId xmlns:a16="http://schemas.microsoft.com/office/drawing/2014/main" id="{E78BE61F-E548-B45F-A6CD-E55E8F45E1C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4">
              <a:extLst>
                <a:ext uri="{FF2B5EF4-FFF2-40B4-BE49-F238E27FC236}">
                  <a16:creationId xmlns:a16="http://schemas.microsoft.com/office/drawing/2014/main" id="{CD65CF3F-528B-C5A3-9478-1A4DC1232E3D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5">
              <a:extLst>
                <a:ext uri="{FF2B5EF4-FFF2-40B4-BE49-F238E27FC236}">
                  <a16:creationId xmlns:a16="http://schemas.microsoft.com/office/drawing/2014/main" id="{1F7506CB-7E82-8891-DC48-7E6F9CF68B5D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6">
              <a:extLst>
                <a:ext uri="{FF2B5EF4-FFF2-40B4-BE49-F238E27FC236}">
                  <a16:creationId xmlns:a16="http://schemas.microsoft.com/office/drawing/2014/main" id="{63BD8999-CD3A-96C8-56C6-8BC0421587B7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7">
              <a:extLst>
                <a:ext uri="{FF2B5EF4-FFF2-40B4-BE49-F238E27FC236}">
                  <a16:creationId xmlns:a16="http://schemas.microsoft.com/office/drawing/2014/main" id="{586BE73D-09A5-012F-671C-BFA5EC645F05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8">
              <a:extLst>
                <a:ext uri="{FF2B5EF4-FFF2-40B4-BE49-F238E27FC236}">
                  <a16:creationId xmlns:a16="http://schemas.microsoft.com/office/drawing/2014/main" id="{5B174375-8525-42AE-FC18-17B0B90187FE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9578056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7">
            <a:extLst>
              <a:ext uri="{FF2B5EF4-FFF2-40B4-BE49-F238E27FC236}">
                <a16:creationId xmlns:a16="http://schemas.microsoft.com/office/drawing/2014/main" id="{C5CC3C5B-20F5-EDF1-6350-FE204957F054}"/>
              </a:ext>
            </a:extLst>
          </p:cNvPr>
          <p:cNvSpPr/>
          <p:nvPr/>
        </p:nvSpPr>
        <p:spPr>
          <a:xfrm>
            <a:off x="15163" y="2303"/>
            <a:ext cx="12271379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226669" y="6831254"/>
                </a:moveTo>
                <a:lnTo>
                  <a:pt x="223977" y="6784530"/>
                </a:lnTo>
                <a:lnTo>
                  <a:pt x="216090" y="6739382"/>
                </a:lnTo>
                <a:lnTo>
                  <a:pt x="203314" y="6696126"/>
                </a:lnTo>
                <a:lnTo>
                  <a:pt x="185940" y="6655054"/>
                </a:lnTo>
                <a:lnTo>
                  <a:pt x="164287" y="6616459"/>
                </a:lnTo>
                <a:lnTo>
                  <a:pt x="138645" y="6580657"/>
                </a:lnTo>
                <a:lnTo>
                  <a:pt x="109308" y="6547929"/>
                </a:lnTo>
                <a:lnTo>
                  <a:pt x="76593" y="6518605"/>
                </a:lnTo>
                <a:lnTo>
                  <a:pt x="40792" y="6492964"/>
                </a:lnTo>
                <a:lnTo>
                  <a:pt x="2197" y="6471310"/>
                </a:lnTo>
                <a:lnTo>
                  <a:pt x="0" y="6470370"/>
                </a:lnTo>
                <a:lnTo>
                  <a:pt x="0" y="7192124"/>
                </a:lnTo>
                <a:lnTo>
                  <a:pt x="40792" y="7169531"/>
                </a:lnTo>
                <a:lnTo>
                  <a:pt x="76593" y="7143890"/>
                </a:lnTo>
                <a:lnTo>
                  <a:pt x="109308" y="7114565"/>
                </a:lnTo>
                <a:lnTo>
                  <a:pt x="138645" y="7081837"/>
                </a:lnTo>
                <a:lnTo>
                  <a:pt x="164287" y="7046036"/>
                </a:lnTo>
                <a:lnTo>
                  <a:pt x="185940" y="7007453"/>
                </a:lnTo>
                <a:lnTo>
                  <a:pt x="203314" y="6966382"/>
                </a:lnTo>
                <a:lnTo>
                  <a:pt x="216090" y="6923125"/>
                </a:lnTo>
                <a:lnTo>
                  <a:pt x="223977" y="6877977"/>
                </a:lnTo>
                <a:lnTo>
                  <a:pt x="226669" y="6831254"/>
                </a:lnTo>
                <a:close/>
              </a:path>
              <a:path w="13428344" h="7560309">
                <a:moveTo>
                  <a:pt x="570217" y="5353024"/>
                </a:moveTo>
                <a:lnTo>
                  <a:pt x="568934" y="5305234"/>
                </a:lnTo>
                <a:lnTo>
                  <a:pt x="565111" y="5258117"/>
                </a:lnTo>
                <a:lnTo>
                  <a:pt x="558812" y="5211737"/>
                </a:lnTo>
                <a:lnTo>
                  <a:pt x="550125" y="5166169"/>
                </a:lnTo>
                <a:lnTo>
                  <a:pt x="539102" y="5121478"/>
                </a:lnTo>
                <a:lnTo>
                  <a:pt x="525818" y="5077714"/>
                </a:lnTo>
                <a:lnTo>
                  <a:pt x="510324" y="5034966"/>
                </a:lnTo>
                <a:lnTo>
                  <a:pt x="492696" y="4993284"/>
                </a:lnTo>
                <a:lnTo>
                  <a:pt x="472998" y="4952746"/>
                </a:lnTo>
                <a:lnTo>
                  <a:pt x="451294" y="4913401"/>
                </a:lnTo>
                <a:lnTo>
                  <a:pt x="427659" y="4875339"/>
                </a:lnTo>
                <a:lnTo>
                  <a:pt x="402158" y="4838611"/>
                </a:lnTo>
                <a:lnTo>
                  <a:pt x="374853" y="4803292"/>
                </a:lnTo>
                <a:lnTo>
                  <a:pt x="345821" y="4769434"/>
                </a:lnTo>
                <a:lnTo>
                  <a:pt x="315099" y="4737125"/>
                </a:lnTo>
                <a:lnTo>
                  <a:pt x="282790" y="4706417"/>
                </a:lnTo>
                <a:lnTo>
                  <a:pt x="248932" y="4677372"/>
                </a:lnTo>
                <a:lnTo>
                  <a:pt x="213614" y="4650067"/>
                </a:lnTo>
                <a:lnTo>
                  <a:pt x="176885" y="4624565"/>
                </a:lnTo>
                <a:lnTo>
                  <a:pt x="138823" y="4600930"/>
                </a:lnTo>
                <a:lnTo>
                  <a:pt x="99479" y="4579226"/>
                </a:lnTo>
                <a:lnTo>
                  <a:pt x="58940" y="4559541"/>
                </a:lnTo>
                <a:lnTo>
                  <a:pt x="17259" y="4541913"/>
                </a:lnTo>
                <a:lnTo>
                  <a:pt x="0" y="4535652"/>
                </a:lnTo>
                <a:lnTo>
                  <a:pt x="0" y="6170409"/>
                </a:lnTo>
                <a:lnTo>
                  <a:pt x="58940" y="6146520"/>
                </a:lnTo>
                <a:lnTo>
                  <a:pt x="99479" y="6126823"/>
                </a:lnTo>
                <a:lnTo>
                  <a:pt x="138823" y="6105118"/>
                </a:lnTo>
                <a:lnTo>
                  <a:pt x="176885" y="6081496"/>
                </a:lnTo>
                <a:lnTo>
                  <a:pt x="213614" y="6055982"/>
                </a:lnTo>
                <a:lnTo>
                  <a:pt x="248932" y="6028677"/>
                </a:lnTo>
                <a:lnTo>
                  <a:pt x="282790" y="5999645"/>
                </a:lnTo>
                <a:lnTo>
                  <a:pt x="315099" y="5968924"/>
                </a:lnTo>
                <a:lnTo>
                  <a:pt x="345821" y="5936615"/>
                </a:lnTo>
                <a:lnTo>
                  <a:pt x="374853" y="5902757"/>
                </a:lnTo>
                <a:lnTo>
                  <a:pt x="402158" y="5867438"/>
                </a:lnTo>
                <a:lnTo>
                  <a:pt x="427659" y="5830709"/>
                </a:lnTo>
                <a:lnTo>
                  <a:pt x="451294" y="5792648"/>
                </a:lnTo>
                <a:lnTo>
                  <a:pt x="472998" y="5753316"/>
                </a:lnTo>
                <a:lnTo>
                  <a:pt x="492696" y="5712765"/>
                </a:lnTo>
                <a:lnTo>
                  <a:pt x="510324" y="5671083"/>
                </a:lnTo>
                <a:lnTo>
                  <a:pt x="525818" y="5628335"/>
                </a:lnTo>
                <a:lnTo>
                  <a:pt x="539102" y="5584583"/>
                </a:lnTo>
                <a:lnTo>
                  <a:pt x="550125" y="5539879"/>
                </a:lnTo>
                <a:lnTo>
                  <a:pt x="558812" y="5494312"/>
                </a:lnTo>
                <a:lnTo>
                  <a:pt x="565111" y="5447931"/>
                </a:lnTo>
                <a:lnTo>
                  <a:pt x="568934" y="5400814"/>
                </a:lnTo>
                <a:lnTo>
                  <a:pt x="570217" y="5353024"/>
                </a:lnTo>
                <a:close/>
              </a:path>
              <a:path w="13428344" h="7560309">
                <a:moveTo>
                  <a:pt x="2835325" y="6635394"/>
                </a:moveTo>
                <a:lnTo>
                  <a:pt x="2834322" y="6586918"/>
                </a:lnTo>
                <a:lnTo>
                  <a:pt x="2831325" y="6538963"/>
                </a:lnTo>
                <a:lnTo>
                  <a:pt x="2826397" y="6491567"/>
                </a:lnTo>
                <a:lnTo>
                  <a:pt x="2819552" y="6444755"/>
                </a:lnTo>
                <a:lnTo>
                  <a:pt x="2810840" y="6398565"/>
                </a:lnTo>
                <a:lnTo>
                  <a:pt x="2800312" y="6353061"/>
                </a:lnTo>
                <a:lnTo>
                  <a:pt x="2787980" y="6308268"/>
                </a:lnTo>
                <a:lnTo>
                  <a:pt x="2773921" y="6264224"/>
                </a:lnTo>
                <a:lnTo>
                  <a:pt x="2758148" y="6220968"/>
                </a:lnTo>
                <a:lnTo>
                  <a:pt x="2740698" y="6178550"/>
                </a:lnTo>
                <a:lnTo>
                  <a:pt x="2721635" y="6136995"/>
                </a:lnTo>
                <a:lnTo>
                  <a:pt x="2700985" y="6096355"/>
                </a:lnTo>
                <a:lnTo>
                  <a:pt x="2678773" y="6056668"/>
                </a:lnTo>
                <a:lnTo>
                  <a:pt x="2655062" y="6017971"/>
                </a:lnTo>
                <a:lnTo>
                  <a:pt x="2629890" y="5980303"/>
                </a:lnTo>
                <a:lnTo>
                  <a:pt x="2603284" y="5943701"/>
                </a:lnTo>
                <a:lnTo>
                  <a:pt x="2575293" y="5908218"/>
                </a:lnTo>
                <a:lnTo>
                  <a:pt x="2545943" y="5873877"/>
                </a:lnTo>
                <a:lnTo>
                  <a:pt x="2515298" y="5840730"/>
                </a:lnTo>
                <a:lnTo>
                  <a:pt x="2483370" y="5808802"/>
                </a:lnTo>
                <a:lnTo>
                  <a:pt x="2450223" y="5778157"/>
                </a:lnTo>
                <a:lnTo>
                  <a:pt x="2415883" y="5748807"/>
                </a:lnTo>
                <a:lnTo>
                  <a:pt x="2380399" y="5720816"/>
                </a:lnTo>
                <a:lnTo>
                  <a:pt x="2343797" y="5694210"/>
                </a:lnTo>
                <a:lnTo>
                  <a:pt x="2306129" y="5669026"/>
                </a:lnTo>
                <a:lnTo>
                  <a:pt x="2267432" y="5645315"/>
                </a:lnTo>
                <a:lnTo>
                  <a:pt x="2227732" y="5623115"/>
                </a:lnTo>
                <a:lnTo>
                  <a:pt x="2187092" y="5602465"/>
                </a:lnTo>
                <a:lnTo>
                  <a:pt x="2145550" y="5583390"/>
                </a:lnTo>
                <a:lnTo>
                  <a:pt x="2103120" y="5565953"/>
                </a:lnTo>
                <a:lnTo>
                  <a:pt x="2059876" y="5550179"/>
                </a:lnTo>
                <a:lnTo>
                  <a:pt x="2015832" y="5536108"/>
                </a:lnTo>
                <a:lnTo>
                  <a:pt x="1971040" y="5523789"/>
                </a:lnTo>
                <a:lnTo>
                  <a:pt x="1925523" y="5513260"/>
                </a:lnTo>
                <a:lnTo>
                  <a:pt x="1879346" y="5504548"/>
                </a:lnTo>
                <a:lnTo>
                  <a:pt x="1832533" y="5497703"/>
                </a:lnTo>
                <a:lnTo>
                  <a:pt x="1785137" y="5492762"/>
                </a:lnTo>
                <a:lnTo>
                  <a:pt x="1737169" y="5489778"/>
                </a:lnTo>
                <a:lnTo>
                  <a:pt x="1688706" y="5488775"/>
                </a:lnTo>
                <a:lnTo>
                  <a:pt x="1640243" y="5489778"/>
                </a:lnTo>
                <a:lnTo>
                  <a:pt x="1592275" y="5492762"/>
                </a:lnTo>
                <a:lnTo>
                  <a:pt x="1544878" y="5497703"/>
                </a:lnTo>
                <a:lnTo>
                  <a:pt x="1498066" y="5504548"/>
                </a:lnTo>
                <a:lnTo>
                  <a:pt x="1451889" y="5513260"/>
                </a:lnTo>
                <a:lnTo>
                  <a:pt x="1406372" y="5523789"/>
                </a:lnTo>
                <a:lnTo>
                  <a:pt x="1361579" y="5536108"/>
                </a:lnTo>
                <a:lnTo>
                  <a:pt x="1317536" y="5550179"/>
                </a:lnTo>
                <a:lnTo>
                  <a:pt x="1274292" y="5565953"/>
                </a:lnTo>
                <a:lnTo>
                  <a:pt x="1231861" y="5583390"/>
                </a:lnTo>
                <a:lnTo>
                  <a:pt x="1190320" y="5602465"/>
                </a:lnTo>
                <a:lnTo>
                  <a:pt x="1149680" y="5623115"/>
                </a:lnTo>
                <a:lnTo>
                  <a:pt x="1109980" y="5645315"/>
                </a:lnTo>
                <a:lnTo>
                  <a:pt x="1071283" y="5669026"/>
                </a:lnTo>
                <a:lnTo>
                  <a:pt x="1033614" y="5694210"/>
                </a:lnTo>
                <a:lnTo>
                  <a:pt x="997013" y="5720816"/>
                </a:lnTo>
                <a:lnTo>
                  <a:pt x="961529" y="5748807"/>
                </a:lnTo>
                <a:lnTo>
                  <a:pt x="927188" y="5778157"/>
                </a:lnTo>
                <a:lnTo>
                  <a:pt x="894041" y="5808802"/>
                </a:lnTo>
                <a:lnTo>
                  <a:pt x="862114" y="5840730"/>
                </a:lnTo>
                <a:lnTo>
                  <a:pt x="831469" y="5873877"/>
                </a:lnTo>
                <a:lnTo>
                  <a:pt x="802119" y="5908218"/>
                </a:lnTo>
                <a:lnTo>
                  <a:pt x="774128" y="5943701"/>
                </a:lnTo>
                <a:lnTo>
                  <a:pt x="747522" y="5980303"/>
                </a:lnTo>
                <a:lnTo>
                  <a:pt x="722350" y="6017971"/>
                </a:lnTo>
                <a:lnTo>
                  <a:pt x="698639" y="6056668"/>
                </a:lnTo>
                <a:lnTo>
                  <a:pt x="676427" y="6096355"/>
                </a:lnTo>
                <a:lnTo>
                  <a:pt x="655777" y="6136995"/>
                </a:lnTo>
                <a:lnTo>
                  <a:pt x="636714" y="6178550"/>
                </a:lnTo>
                <a:lnTo>
                  <a:pt x="619264" y="6220968"/>
                </a:lnTo>
                <a:lnTo>
                  <a:pt x="603491" y="6264224"/>
                </a:lnTo>
                <a:lnTo>
                  <a:pt x="589432" y="6308268"/>
                </a:lnTo>
                <a:lnTo>
                  <a:pt x="577100" y="6353061"/>
                </a:lnTo>
                <a:lnTo>
                  <a:pt x="566572" y="6398565"/>
                </a:lnTo>
                <a:lnTo>
                  <a:pt x="557860" y="6444755"/>
                </a:lnTo>
                <a:lnTo>
                  <a:pt x="551014" y="6491567"/>
                </a:lnTo>
                <a:lnTo>
                  <a:pt x="546087" y="6538963"/>
                </a:lnTo>
                <a:lnTo>
                  <a:pt x="543090" y="6586918"/>
                </a:lnTo>
                <a:lnTo>
                  <a:pt x="542086" y="6635394"/>
                </a:lnTo>
                <a:lnTo>
                  <a:pt x="543090" y="6683857"/>
                </a:lnTo>
                <a:lnTo>
                  <a:pt x="546087" y="6731813"/>
                </a:lnTo>
                <a:lnTo>
                  <a:pt x="551014" y="6779222"/>
                </a:lnTo>
                <a:lnTo>
                  <a:pt x="557860" y="6826034"/>
                </a:lnTo>
                <a:lnTo>
                  <a:pt x="566572" y="6872211"/>
                </a:lnTo>
                <a:lnTo>
                  <a:pt x="577100" y="6917715"/>
                </a:lnTo>
                <a:lnTo>
                  <a:pt x="589432" y="6962508"/>
                </a:lnTo>
                <a:lnTo>
                  <a:pt x="603491" y="7006552"/>
                </a:lnTo>
                <a:lnTo>
                  <a:pt x="619264" y="7049808"/>
                </a:lnTo>
                <a:lnTo>
                  <a:pt x="636714" y="7092226"/>
                </a:lnTo>
                <a:lnTo>
                  <a:pt x="655777" y="7133780"/>
                </a:lnTo>
                <a:lnTo>
                  <a:pt x="676427" y="7174420"/>
                </a:lnTo>
                <a:lnTo>
                  <a:pt x="698639" y="7214108"/>
                </a:lnTo>
                <a:lnTo>
                  <a:pt x="722350" y="7252805"/>
                </a:lnTo>
                <a:lnTo>
                  <a:pt x="747522" y="7290473"/>
                </a:lnTo>
                <a:lnTo>
                  <a:pt x="774128" y="7327074"/>
                </a:lnTo>
                <a:lnTo>
                  <a:pt x="802119" y="7362571"/>
                </a:lnTo>
                <a:lnTo>
                  <a:pt x="831469" y="7396912"/>
                </a:lnTo>
                <a:lnTo>
                  <a:pt x="862114" y="7430059"/>
                </a:lnTo>
                <a:lnTo>
                  <a:pt x="894041" y="7461974"/>
                </a:lnTo>
                <a:lnTo>
                  <a:pt x="927188" y="7492632"/>
                </a:lnTo>
                <a:lnTo>
                  <a:pt x="961529" y="7521969"/>
                </a:lnTo>
                <a:lnTo>
                  <a:pt x="997013" y="7549972"/>
                </a:lnTo>
                <a:lnTo>
                  <a:pt x="1010831" y="7560005"/>
                </a:lnTo>
                <a:lnTo>
                  <a:pt x="2366581" y="7560005"/>
                </a:lnTo>
                <a:lnTo>
                  <a:pt x="2415883" y="7521969"/>
                </a:lnTo>
                <a:lnTo>
                  <a:pt x="2450223" y="7492632"/>
                </a:lnTo>
                <a:lnTo>
                  <a:pt x="2483370" y="7461974"/>
                </a:lnTo>
                <a:lnTo>
                  <a:pt x="2515298" y="7430059"/>
                </a:lnTo>
                <a:lnTo>
                  <a:pt x="2545943" y="7396912"/>
                </a:lnTo>
                <a:lnTo>
                  <a:pt x="2575293" y="7362571"/>
                </a:lnTo>
                <a:lnTo>
                  <a:pt x="2603284" y="7327074"/>
                </a:lnTo>
                <a:lnTo>
                  <a:pt x="2629890" y="7290473"/>
                </a:lnTo>
                <a:lnTo>
                  <a:pt x="2655062" y="7252805"/>
                </a:lnTo>
                <a:lnTo>
                  <a:pt x="2678773" y="7214108"/>
                </a:lnTo>
                <a:lnTo>
                  <a:pt x="2700985" y="7174420"/>
                </a:lnTo>
                <a:lnTo>
                  <a:pt x="2721635" y="7133780"/>
                </a:lnTo>
                <a:lnTo>
                  <a:pt x="2740698" y="7092226"/>
                </a:lnTo>
                <a:lnTo>
                  <a:pt x="2758148" y="7049808"/>
                </a:lnTo>
                <a:lnTo>
                  <a:pt x="2773921" y="7006552"/>
                </a:lnTo>
                <a:lnTo>
                  <a:pt x="2787980" y="6962508"/>
                </a:lnTo>
                <a:lnTo>
                  <a:pt x="2800312" y="6917715"/>
                </a:lnTo>
                <a:lnTo>
                  <a:pt x="2810840" y="6872211"/>
                </a:lnTo>
                <a:lnTo>
                  <a:pt x="2819552" y="6826034"/>
                </a:lnTo>
                <a:lnTo>
                  <a:pt x="2826397" y="6779222"/>
                </a:lnTo>
                <a:lnTo>
                  <a:pt x="2831325" y="6731813"/>
                </a:lnTo>
                <a:lnTo>
                  <a:pt x="2834322" y="6683857"/>
                </a:lnTo>
                <a:lnTo>
                  <a:pt x="2835325" y="6635394"/>
                </a:lnTo>
                <a:close/>
              </a:path>
              <a:path w="13428344" h="7560309">
                <a:moveTo>
                  <a:pt x="2872587" y="5132197"/>
                </a:moveTo>
                <a:lnTo>
                  <a:pt x="2869895" y="5085473"/>
                </a:lnTo>
                <a:lnTo>
                  <a:pt x="2862008" y="5040338"/>
                </a:lnTo>
                <a:lnTo>
                  <a:pt x="2849232" y="4997069"/>
                </a:lnTo>
                <a:lnTo>
                  <a:pt x="2831858" y="4955997"/>
                </a:lnTo>
                <a:lnTo>
                  <a:pt x="2810205" y="4917402"/>
                </a:lnTo>
                <a:lnTo>
                  <a:pt x="2784564" y="4881600"/>
                </a:lnTo>
                <a:lnTo>
                  <a:pt x="2755239" y="4848885"/>
                </a:lnTo>
                <a:lnTo>
                  <a:pt x="2722511" y="4819548"/>
                </a:lnTo>
                <a:lnTo>
                  <a:pt x="2686710" y="4793907"/>
                </a:lnTo>
                <a:lnTo>
                  <a:pt x="2648115" y="4772253"/>
                </a:lnTo>
                <a:lnTo>
                  <a:pt x="2607043" y="4754892"/>
                </a:lnTo>
                <a:lnTo>
                  <a:pt x="2563787" y="4742116"/>
                </a:lnTo>
                <a:lnTo>
                  <a:pt x="2518638" y="4734230"/>
                </a:lnTo>
                <a:lnTo>
                  <a:pt x="2471915" y="4731524"/>
                </a:lnTo>
                <a:lnTo>
                  <a:pt x="2425192" y="4734230"/>
                </a:lnTo>
                <a:lnTo>
                  <a:pt x="2380043" y="4742116"/>
                </a:lnTo>
                <a:lnTo>
                  <a:pt x="2336787" y="4754892"/>
                </a:lnTo>
                <a:lnTo>
                  <a:pt x="2295715" y="4772253"/>
                </a:lnTo>
                <a:lnTo>
                  <a:pt x="2257120" y="4793907"/>
                </a:lnTo>
                <a:lnTo>
                  <a:pt x="2221319" y="4819548"/>
                </a:lnTo>
                <a:lnTo>
                  <a:pt x="2188603" y="4848885"/>
                </a:lnTo>
                <a:lnTo>
                  <a:pt x="2159266" y="4881600"/>
                </a:lnTo>
                <a:lnTo>
                  <a:pt x="2133625" y="4917402"/>
                </a:lnTo>
                <a:lnTo>
                  <a:pt x="2111972" y="4955997"/>
                </a:lnTo>
                <a:lnTo>
                  <a:pt x="2094598" y="4997069"/>
                </a:lnTo>
                <a:lnTo>
                  <a:pt x="2081822" y="5040338"/>
                </a:lnTo>
                <a:lnTo>
                  <a:pt x="2073935" y="5085473"/>
                </a:lnTo>
                <a:lnTo>
                  <a:pt x="2071243" y="5132197"/>
                </a:lnTo>
                <a:lnTo>
                  <a:pt x="2073935" y="5178933"/>
                </a:lnTo>
                <a:lnTo>
                  <a:pt x="2081822" y="5224069"/>
                </a:lnTo>
                <a:lnTo>
                  <a:pt x="2094598" y="5267337"/>
                </a:lnTo>
                <a:lnTo>
                  <a:pt x="2111972" y="5308409"/>
                </a:lnTo>
                <a:lnTo>
                  <a:pt x="2133625" y="5346992"/>
                </a:lnTo>
                <a:lnTo>
                  <a:pt x="2159266" y="5382793"/>
                </a:lnTo>
                <a:lnTo>
                  <a:pt x="2188603" y="5415508"/>
                </a:lnTo>
                <a:lnTo>
                  <a:pt x="2221319" y="5444845"/>
                </a:lnTo>
                <a:lnTo>
                  <a:pt x="2257120" y="5470487"/>
                </a:lnTo>
                <a:lnTo>
                  <a:pt x="2295715" y="5492140"/>
                </a:lnTo>
                <a:lnTo>
                  <a:pt x="2336787" y="5509501"/>
                </a:lnTo>
                <a:lnTo>
                  <a:pt x="2380043" y="5522277"/>
                </a:lnTo>
                <a:lnTo>
                  <a:pt x="2425192" y="5530164"/>
                </a:lnTo>
                <a:lnTo>
                  <a:pt x="2471915" y="5532856"/>
                </a:lnTo>
                <a:lnTo>
                  <a:pt x="2518638" y="5530164"/>
                </a:lnTo>
                <a:lnTo>
                  <a:pt x="2563787" y="5522277"/>
                </a:lnTo>
                <a:lnTo>
                  <a:pt x="2607043" y="5509501"/>
                </a:lnTo>
                <a:lnTo>
                  <a:pt x="2648115" y="5492140"/>
                </a:lnTo>
                <a:lnTo>
                  <a:pt x="2686710" y="5470487"/>
                </a:lnTo>
                <a:lnTo>
                  <a:pt x="2722511" y="5444845"/>
                </a:lnTo>
                <a:lnTo>
                  <a:pt x="2755239" y="5415508"/>
                </a:lnTo>
                <a:lnTo>
                  <a:pt x="2784564" y="5382793"/>
                </a:lnTo>
                <a:lnTo>
                  <a:pt x="2810205" y="5346992"/>
                </a:lnTo>
                <a:lnTo>
                  <a:pt x="2831858" y="5308409"/>
                </a:lnTo>
                <a:lnTo>
                  <a:pt x="2849232" y="5267337"/>
                </a:lnTo>
                <a:lnTo>
                  <a:pt x="2862008" y="5224069"/>
                </a:lnTo>
                <a:lnTo>
                  <a:pt x="2869895" y="5178933"/>
                </a:lnTo>
                <a:lnTo>
                  <a:pt x="2872587" y="5132197"/>
                </a:lnTo>
                <a:close/>
              </a:path>
              <a:path w="13428344" h="7560309">
                <a:moveTo>
                  <a:pt x="3311982" y="5582005"/>
                </a:moveTo>
                <a:lnTo>
                  <a:pt x="3307931" y="5536819"/>
                </a:lnTo>
                <a:lnTo>
                  <a:pt x="3296259" y="5494274"/>
                </a:lnTo>
                <a:lnTo>
                  <a:pt x="3277666" y="5455107"/>
                </a:lnTo>
                <a:lnTo>
                  <a:pt x="3252863" y="5420017"/>
                </a:lnTo>
                <a:lnTo>
                  <a:pt x="3222561" y="5389715"/>
                </a:lnTo>
                <a:lnTo>
                  <a:pt x="3187471" y="5364912"/>
                </a:lnTo>
                <a:lnTo>
                  <a:pt x="3148292" y="5346319"/>
                </a:lnTo>
                <a:lnTo>
                  <a:pt x="3105759" y="5334635"/>
                </a:lnTo>
                <a:lnTo>
                  <a:pt x="3060560" y="5330583"/>
                </a:lnTo>
                <a:lnTo>
                  <a:pt x="3015373" y="5334635"/>
                </a:lnTo>
                <a:lnTo>
                  <a:pt x="2972828" y="5346319"/>
                </a:lnTo>
                <a:lnTo>
                  <a:pt x="2933662" y="5364912"/>
                </a:lnTo>
                <a:lnTo>
                  <a:pt x="2898571" y="5389715"/>
                </a:lnTo>
                <a:lnTo>
                  <a:pt x="2868269" y="5420017"/>
                </a:lnTo>
                <a:lnTo>
                  <a:pt x="2843453" y="5455107"/>
                </a:lnTo>
                <a:lnTo>
                  <a:pt x="2824861" y="5494274"/>
                </a:lnTo>
                <a:lnTo>
                  <a:pt x="2813177" y="5536819"/>
                </a:lnTo>
                <a:lnTo>
                  <a:pt x="2809125" y="5582005"/>
                </a:lnTo>
                <a:lnTo>
                  <a:pt x="2813177" y="5627205"/>
                </a:lnTo>
                <a:lnTo>
                  <a:pt x="2824861" y="5669737"/>
                </a:lnTo>
                <a:lnTo>
                  <a:pt x="2843453" y="5708904"/>
                </a:lnTo>
                <a:lnTo>
                  <a:pt x="2868269" y="5744007"/>
                </a:lnTo>
                <a:lnTo>
                  <a:pt x="2898571" y="5774309"/>
                </a:lnTo>
                <a:lnTo>
                  <a:pt x="2933662" y="5799112"/>
                </a:lnTo>
                <a:lnTo>
                  <a:pt x="2972828" y="5817705"/>
                </a:lnTo>
                <a:lnTo>
                  <a:pt x="3015373" y="5829389"/>
                </a:lnTo>
                <a:lnTo>
                  <a:pt x="3060560" y="5833440"/>
                </a:lnTo>
                <a:lnTo>
                  <a:pt x="3105759" y="5829389"/>
                </a:lnTo>
                <a:lnTo>
                  <a:pt x="3148292" y="5817705"/>
                </a:lnTo>
                <a:lnTo>
                  <a:pt x="3187471" y="5799112"/>
                </a:lnTo>
                <a:lnTo>
                  <a:pt x="3222561" y="5774309"/>
                </a:lnTo>
                <a:lnTo>
                  <a:pt x="3252863" y="5744007"/>
                </a:lnTo>
                <a:lnTo>
                  <a:pt x="3277666" y="5708904"/>
                </a:lnTo>
                <a:lnTo>
                  <a:pt x="3296259" y="5669737"/>
                </a:lnTo>
                <a:lnTo>
                  <a:pt x="3307931" y="5627205"/>
                </a:lnTo>
                <a:lnTo>
                  <a:pt x="3311982" y="5582005"/>
                </a:lnTo>
                <a:close/>
              </a:path>
              <a:path w="13428344" h="7560309">
                <a:moveTo>
                  <a:pt x="6244856" y="2232571"/>
                </a:moveTo>
                <a:lnTo>
                  <a:pt x="6240805" y="2187384"/>
                </a:lnTo>
                <a:lnTo>
                  <a:pt x="6229121" y="2144852"/>
                </a:lnTo>
                <a:lnTo>
                  <a:pt x="6210528" y="2105685"/>
                </a:lnTo>
                <a:lnTo>
                  <a:pt x="6185725" y="2070595"/>
                </a:lnTo>
                <a:lnTo>
                  <a:pt x="6155423" y="2040280"/>
                </a:lnTo>
                <a:lnTo>
                  <a:pt x="6120320" y="2015477"/>
                </a:lnTo>
                <a:lnTo>
                  <a:pt x="6081153" y="1996884"/>
                </a:lnTo>
                <a:lnTo>
                  <a:pt x="6038621" y="1985200"/>
                </a:lnTo>
                <a:lnTo>
                  <a:pt x="5993422" y="1981149"/>
                </a:lnTo>
                <a:lnTo>
                  <a:pt x="5948223" y="1985200"/>
                </a:lnTo>
                <a:lnTo>
                  <a:pt x="5905690" y="1996884"/>
                </a:lnTo>
                <a:lnTo>
                  <a:pt x="5866523" y="2015477"/>
                </a:lnTo>
                <a:lnTo>
                  <a:pt x="5831433" y="2040280"/>
                </a:lnTo>
                <a:lnTo>
                  <a:pt x="5801118" y="2070595"/>
                </a:lnTo>
                <a:lnTo>
                  <a:pt x="5776315" y="2105685"/>
                </a:lnTo>
                <a:lnTo>
                  <a:pt x="5757723" y="2144852"/>
                </a:lnTo>
                <a:lnTo>
                  <a:pt x="5746039" y="2187384"/>
                </a:lnTo>
                <a:lnTo>
                  <a:pt x="5741987" y="2232571"/>
                </a:lnTo>
                <a:lnTo>
                  <a:pt x="5746039" y="2277770"/>
                </a:lnTo>
                <a:lnTo>
                  <a:pt x="5757723" y="2320302"/>
                </a:lnTo>
                <a:lnTo>
                  <a:pt x="5776315" y="2359482"/>
                </a:lnTo>
                <a:lnTo>
                  <a:pt x="5801118" y="2394572"/>
                </a:lnTo>
                <a:lnTo>
                  <a:pt x="5831433" y="2424874"/>
                </a:lnTo>
                <a:lnTo>
                  <a:pt x="5866523" y="2449677"/>
                </a:lnTo>
                <a:lnTo>
                  <a:pt x="5905690" y="2468283"/>
                </a:lnTo>
                <a:lnTo>
                  <a:pt x="5948223" y="2479954"/>
                </a:lnTo>
                <a:lnTo>
                  <a:pt x="5993422" y="2484005"/>
                </a:lnTo>
                <a:lnTo>
                  <a:pt x="6038621" y="2479954"/>
                </a:lnTo>
                <a:lnTo>
                  <a:pt x="6081153" y="2468283"/>
                </a:lnTo>
                <a:lnTo>
                  <a:pt x="6120320" y="2449677"/>
                </a:lnTo>
                <a:lnTo>
                  <a:pt x="6155423" y="2424874"/>
                </a:lnTo>
                <a:lnTo>
                  <a:pt x="6185725" y="2394572"/>
                </a:lnTo>
                <a:lnTo>
                  <a:pt x="6210528" y="2359482"/>
                </a:lnTo>
                <a:lnTo>
                  <a:pt x="6229121" y="2320302"/>
                </a:lnTo>
                <a:lnTo>
                  <a:pt x="6240805" y="2277770"/>
                </a:lnTo>
                <a:lnTo>
                  <a:pt x="6244856" y="2232571"/>
                </a:lnTo>
                <a:close/>
              </a:path>
              <a:path w="13428344" h="7560309">
                <a:moveTo>
                  <a:pt x="6511226" y="750633"/>
                </a:moveTo>
                <a:lnTo>
                  <a:pt x="6510223" y="702170"/>
                </a:lnTo>
                <a:lnTo>
                  <a:pt x="6507239" y="654202"/>
                </a:lnTo>
                <a:lnTo>
                  <a:pt x="6502298" y="606806"/>
                </a:lnTo>
                <a:lnTo>
                  <a:pt x="6495453" y="559993"/>
                </a:lnTo>
                <a:lnTo>
                  <a:pt x="6486741" y="513816"/>
                </a:lnTo>
                <a:lnTo>
                  <a:pt x="6476212" y="468299"/>
                </a:lnTo>
                <a:lnTo>
                  <a:pt x="6463893" y="423506"/>
                </a:lnTo>
                <a:lnTo>
                  <a:pt x="6449822" y="379463"/>
                </a:lnTo>
                <a:lnTo>
                  <a:pt x="6434048" y="336219"/>
                </a:lnTo>
                <a:lnTo>
                  <a:pt x="6416611" y="293789"/>
                </a:lnTo>
                <a:lnTo>
                  <a:pt x="6397536" y="252247"/>
                </a:lnTo>
                <a:lnTo>
                  <a:pt x="6376886" y="211607"/>
                </a:lnTo>
                <a:lnTo>
                  <a:pt x="6354686" y="171907"/>
                </a:lnTo>
                <a:lnTo>
                  <a:pt x="6330975" y="133210"/>
                </a:lnTo>
                <a:lnTo>
                  <a:pt x="6305791" y="95542"/>
                </a:lnTo>
                <a:lnTo>
                  <a:pt x="6279185" y="58940"/>
                </a:lnTo>
                <a:lnTo>
                  <a:pt x="6251194" y="23456"/>
                </a:lnTo>
                <a:lnTo>
                  <a:pt x="6231153" y="0"/>
                </a:lnTo>
                <a:lnTo>
                  <a:pt x="4498073" y="0"/>
                </a:lnTo>
                <a:lnTo>
                  <a:pt x="4450029" y="58940"/>
                </a:lnTo>
                <a:lnTo>
                  <a:pt x="4423422" y="95542"/>
                </a:lnTo>
                <a:lnTo>
                  <a:pt x="4398251" y="133210"/>
                </a:lnTo>
                <a:lnTo>
                  <a:pt x="4374540" y="171907"/>
                </a:lnTo>
                <a:lnTo>
                  <a:pt x="4352341" y="211607"/>
                </a:lnTo>
                <a:lnTo>
                  <a:pt x="4331678" y="252247"/>
                </a:lnTo>
                <a:lnTo>
                  <a:pt x="4312615" y="293789"/>
                </a:lnTo>
                <a:lnTo>
                  <a:pt x="4295178" y="336219"/>
                </a:lnTo>
                <a:lnTo>
                  <a:pt x="4279404" y="379463"/>
                </a:lnTo>
                <a:lnTo>
                  <a:pt x="4265333" y="423506"/>
                </a:lnTo>
                <a:lnTo>
                  <a:pt x="4253014" y="468299"/>
                </a:lnTo>
                <a:lnTo>
                  <a:pt x="4242473" y="513816"/>
                </a:lnTo>
                <a:lnTo>
                  <a:pt x="4233773" y="559993"/>
                </a:lnTo>
                <a:lnTo>
                  <a:pt x="4226928" y="606806"/>
                </a:lnTo>
                <a:lnTo>
                  <a:pt x="4221988" y="654202"/>
                </a:lnTo>
                <a:lnTo>
                  <a:pt x="4219003" y="702170"/>
                </a:lnTo>
                <a:lnTo>
                  <a:pt x="4217987" y="750633"/>
                </a:lnTo>
                <a:lnTo>
                  <a:pt x="4219003" y="799096"/>
                </a:lnTo>
                <a:lnTo>
                  <a:pt x="4221988" y="847064"/>
                </a:lnTo>
                <a:lnTo>
                  <a:pt x="4226928" y="894461"/>
                </a:lnTo>
                <a:lnTo>
                  <a:pt x="4233773" y="941273"/>
                </a:lnTo>
                <a:lnTo>
                  <a:pt x="4242473" y="987450"/>
                </a:lnTo>
                <a:lnTo>
                  <a:pt x="4253014" y="1032967"/>
                </a:lnTo>
                <a:lnTo>
                  <a:pt x="4265333" y="1077760"/>
                </a:lnTo>
                <a:lnTo>
                  <a:pt x="4279404" y="1121803"/>
                </a:lnTo>
                <a:lnTo>
                  <a:pt x="4295178" y="1165047"/>
                </a:lnTo>
                <a:lnTo>
                  <a:pt x="4312615" y="1207477"/>
                </a:lnTo>
                <a:lnTo>
                  <a:pt x="4331678" y="1249019"/>
                </a:lnTo>
                <a:lnTo>
                  <a:pt x="4352341" y="1289659"/>
                </a:lnTo>
                <a:lnTo>
                  <a:pt x="4374540" y="1329359"/>
                </a:lnTo>
                <a:lnTo>
                  <a:pt x="4398251" y="1368056"/>
                </a:lnTo>
                <a:lnTo>
                  <a:pt x="4423422" y="1405724"/>
                </a:lnTo>
                <a:lnTo>
                  <a:pt x="4450029" y="1442326"/>
                </a:lnTo>
                <a:lnTo>
                  <a:pt x="4478032" y="1477810"/>
                </a:lnTo>
                <a:lnTo>
                  <a:pt x="4507369" y="1512150"/>
                </a:lnTo>
                <a:lnTo>
                  <a:pt x="4538027" y="1545297"/>
                </a:lnTo>
                <a:lnTo>
                  <a:pt x="4569942" y="1577225"/>
                </a:lnTo>
                <a:lnTo>
                  <a:pt x="4603102" y="1607870"/>
                </a:lnTo>
                <a:lnTo>
                  <a:pt x="4637430" y="1637220"/>
                </a:lnTo>
                <a:lnTo>
                  <a:pt x="4672927" y="1665211"/>
                </a:lnTo>
                <a:lnTo>
                  <a:pt x="4709528" y="1691817"/>
                </a:lnTo>
                <a:lnTo>
                  <a:pt x="4747196" y="1716989"/>
                </a:lnTo>
                <a:lnTo>
                  <a:pt x="4785893" y="1740700"/>
                </a:lnTo>
                <a:lnTo>
                  <a:pt x="4825581" y="1762912"/>
                </a:lnTo>
                <a:lnTo>
                  <a:pt x="4866221" y="1783562"/>
                </a:lnTo>
                <a:lnTo>
                  <a:pt x="4907775" y="1802625"/>
                </a:lnTo>
                <a:lnTo>
                  <a:pt x="4950193" y="1820075"/>
                </a:lnTo>
                <a:lnTo>
                  <a:pt x="4993449" y="1835848"/>
                </a:lnTo>
                <a:lnTo>
                  <a:pt x="5037493" y="1849907"/>
                </a:lnTo>
                <a:lnTo>
                  <a:pt x="5082286" y="1862239"/>
                </a:lnTo>
                <a:lnTo>
                  <a:pt x="5127790" y="1872767"/>
                </a:lnTo>
                <a:lnTo>
                  <a:pt x="5173967" y="1881479"/>
                </a:lnTo>
                <a:lnTo>
                  <a:pt x="5220779" y="1888324"/>
                </a:lnTo>
                <a:lnTo>
                  <a:pt x="5268188" y="1893252"/>
                </a:lnTo>
                <a:lnTo>
                  <a:pt x="5316144" y="1896249"/>
                </a:lnTo>
                <a:lnTo>
                  <a:pt x="5364607" y="1897253"/>
                </a:lnTo>
                <a:lnTo>
                  <a:pt x="5413083" y="1896249"/>
                </a:lnTo>
                <a:lnTo>
                  <a:pt x="5461038" y="1893252"/>
                </a:lnTo>
                <a:lnTo>
                  <a:pt x="5508447" y="1888324"/>
                </a:lnTo>
                <a:lnTo>
                  <a:pt x="5555246" y="1881479"/>
                </a:lnTo>
                <a:lnTo>
                  <a:pt x="5601436" y="1872767"/>
                </a:lnTo>
                <a:lnTo>
                  <a:pt x="5646940" y="1862239"/>
                </a:lnTo>
                <a:lnTo>
                  <a:pt x="5691733" y="1849907"/>
                </a:lnTo>
                <a:lnTo>
                  <a:pt x="5735777" y="1835848"/>
                </a:lnTo>
                <a:lnTo>
                  <a:pt x="5779033" y="1820075"/>
                </a:lnTo>
                <a:lnTo>
                  <a:pt x="5821451" y="1802625"/>
                </a:lnTo>
                <a:lnTo>
                  <a:pt x="5863006" y="1783562"/>
                </a:lnTo>
                <a:lnTo>
                  <a:pt x="5903646" y="1762912"/>
                </a:lnTo>
                <a:lnTo>
                  <a:pt x="5943333" y="1740700"/>
                </a:lnTo>
                <a:lnTo>
                  <a:pt x="5982030" y="1716989"/>
                </a:lnTo>
                <a:lnTo>
                  <a:pt x="6019698" y="1691817"/>
                </a:lnTo>
                <a:lnTo>
                  <a:pt x="6056300" y="1665211"/>
                </a:lnTo>
                <a:lnTo>
                  <a:pt x="6091783" y="1637220"/>
                </a:lnTo>
                <a:lnTo>
                  <a:pt x="6126124" y="1607870"/>
                </a:lnTo>
                <a:lnTo>
                  <a:pt x="6159271" y="1577225"/>
                </a:lnTo>
                <a:lnTo>
                  <a:pt x="6191199" y="1545297"/>
                </a:lnTo>
                <a:lnTo>
                  <a:pt x="6221857" y="1512150"/>
                </a:lnTo>
                <a:lnTo>
                  <a:pt x="6251194" y="1477810"/>
                </a:lnTo>
                <a:lnTo>
                  <a:pt x="6279185" y="1442326"/>
                </a:lnTo>
                <a:lnTo>
                  <a:pt x="6305791" y="1405724"/>
                </a:lnTo>
                <a:lnTo>
                  <a:pt x="6330975" y="1368056"/>
                </a:lnTo>
                <a:lnTo>
                  <a:pt x="6354686" y="1329359"/>
                </a:lnTo>
                <a:lnTo>
                  <a:pt x="6376886" y="1289659"/>
                </a:lnTo>
                <a:lnTo>
                  <a:pt x="6397536" y="1249019"/>
                </a:lnTo>
                <a:lnTo>
                  <a:pt x="6416611" y="1207477"/>
                </a:lnTo>
                <a:lnTo>
                  <a:pt x="6434048" y="1165047"/>
                </a:lnTo>
                <a:lnTo>
                  <a:pt x="6449822" y="1121803"/>
                </a:lnTo>
                <a:lnTo>
                  <a:pt x="6463893" y="1077760"/>
                </a:lnTo>
                <a:lnTo>
                  <a:pt x="6476212" y="1032967"/>
                </a:lnTo>
                <a:lnTo>
                  <a:pt x="6486741" y="987450"/>
                </a:lnTo>
                <a:lnTo>
                  <a:pt x="6495453" y="941273"/>
                </a:lnTo>
                <a:lnTo>
                  <a:pt x="6502298" y="894461"/>
                </a:lnTo>
                <a:lnTo>
                  <a:pt x="6507239" y="847064"/>
                </a:lnTo>
                <a:lnTo>
                  <a:pt x="6510223" y="799096"/>
                </a:lnTo>
                <a:lnTo>
                  <a:pt x="6511226" y="750633"/>
                </a:lnTo>
                <a:close/>
              </a:path>
              <a:path w="13428344" h="7560309">
                <a:moveTo>
                  <a:pt x="7263955" y="2331961"/>
                </a:moveTo>
                <a:lnTo>
                  <a:pt x="7261212" y="2284628"/>
                </a:lnTo>
                <a:lnTo>
                  <a:pt x="7253224" y="2238883"/>
                </a:lnTo>
                <a:lnTo>
                  <a:pt x="7240283" y="2195055"/>
                </a:lnTo>
                <a:lnTo>
                  <a:pt x="7222693" y="2153437"/>
                </a:lnTo>
                <a:lnTo>
                  <a:pt x="7200747" y="2114334"/>
                </a:lnTo>
                <a:lnTo>
                  <a:pt x="7174763" y="2078062"/>
                </a:lnTo>
                <a:lnTo>
                  <a:pt x="7145045" y="2044915"/>
                </a:lnTo>
                <a:lnTo>
                  <a:pt x="7111898" y="2015197"/>
                </a:lnTo>
                <a:lnTo>
                  <a:pt x="7075627" y="1989213"/>
                </a:lnTo>
                <a:lnTo>
                  <a:pt x="7036524" y="1967268"/>
                </a:lnTo>
                <a:lnTo>
                  <a:pt x="6994906" y="1949678"/>
                </a:lnTo>
                <a:lnTo>
                  <a:pt x="6951078" y="1936737"/>
                </a:lnTo>
                <a:lnTo>
                  <a:pt x="6905333" y="1928736"/>
                </a:lnTo>
                <a:lnTo>
                  <a:pt x="6858000" y="1926005"/>
                </a:lnTo>
                <a:lnTo>
                  <a:pt x="6810654" y="1928736"/>
                </a:lnTo>
                <a:lnTo>
                  <a:pt x="6764909" y="1936737"/>
                </a:lnTo>
                <a:lnTo>
                  <a:pt x="6721081" y="1949678"/>
                </a:lnTo>
                <a:lnTo>
                  <a:pt x="6679463" y="1967268"/>
                </a:lnTo>
                <a:lnTo>
                  <a:pt x="6640360" y="1989213"/>
                </a:lnTo>
                <a:lnTo>
                  <a:pt x="6604089" y="2015197"/>
                </a:lnTo>
                <a:lnTo>
                  <a:pt x="6570942" y="2044915"/>
                </a:lnTo>
                <a:lnTo>
                  <a:pt x="6541224" y="2078062"/>
                </a:lnTo>
                <a:lnTo>
                  <a:pt x="6515240" y="2114334"/>
                </a:lnTo>
                <a:lnTo>
                  <a:pt x="6493294" y="2153437"/>
                </a:lnTo>
                <a:lnTo>
                  <a:pt x="6475704" y="2195055"/>
                </a:lnTo>
                <a:lnTo>
                  <a:pt x="6462763" y="2238883"/>
                </a:lnTo>
                <a:lnTo>
                  <a:pt x="6454775" y="2284628"/>
                </a:lnTo>
                <a:lnTo>
                  <a:pt x="6452044" y="2331961"/>
                </a:lnTo>
                <a:lnTo>
                  <a:pt x="6454775" y="2379307"/>
                </a:lnTo>
                <a:lnTo>
                  <a:pt x="6462763" y="2425039"/>
                </a:lnTo>
                <a:lnTo>
                  <a:pt x="6475704" y="2468867"/>
                </a:lnTo>
                <a:lnTo>
                  <a:pt x="6493294" y="2510485"/>
                </a:lnTo>
                <a:lnTo>
                  <a:pt x="6515240" y="2549588"/>
                </a:lnTo>
                <a:lnTo>
                  <a:pt x="6541224" y="2585859"/>
                </a:lnTo>
                <a:lnTo>
                  <a:pt x="6570942" y="2619006"/>
                </a:lnTo>
                <a:lnTo>
                  <a:pt x="6604089" y="2648724"/>
                </a:lnTo>
                <a:lnTo>
                  <a:pt x="6640360" y="2674709"/>
                </a:lnTo>
                <a:lnTo>
                  <a:pt x="6679463" y="2696654"/>
                </a:lnTo>
                <a:lnTo>
                  <a:pt x="6721081" y="2714244"/>
                </a:lnTo>
                <a:lnTo>
                  <a:pt x="6764909" y="2727185"/>
                </a:lnTo>
                <a:lnTo>
                  <a:pt x="6810654" y="2735173"/>
                </a:lnTo>
                <a:lnTo>
                  <a:pt x="6858000" y="2737904"/>
                </a:lnTo>
                <a:lnTo>
                  <a:pt x="6905333" y="2735173"/>
                </a:lnTo>
                <a:lnTo>
                  <a:pt x="6951078" y="2727185"/>
                </a:lnTo>
                <a:lnTo>
                  <a:pt x="6994906" y="2714244"/>
                </a:lnTo>
                <a:lnTo>
                  <a:pt x="7036524" y="2696654"/>
                </a:lnTo>
                <a:lnTo>
                  <a:pt x="7075627" y="2674709"/>
                </a:lnTo>
                <a:lnTo>
                  <a:pt x="7111898" y="2648724"/>
                </a:lnTo>
                <a:lnTo>
                  <a:pt x="7145045" y="2619006"/>
                </a:lnTo>
                <a:lnTo>
                  <a:pt x="7174763" y="2585859"/>
                </a:lnTo>
                <a:lnTo>
                  <a:pt x="7200747" y="2549588"/>
                </a:lnTo>
                <a:lnTo>
                  <a:pt x="7222693" y="2510485"/>
                </a:lnTo>
                <a:lnTo>
                  <a:pt x="7240283" y="2468867"/>
                </a:lnTo>
                <a:lnTo>
                  <a:pt x="7253224" y="2425039"/>
                </a:lnTo>
                <a:lnTo>
                  <a:pt x="7261212" y="2379307"/>
                </a:lnTo>
                <a:lnTo>
                  <a:pt x="7263955" y="2331961"/>
                </a:lnTo>
                <a:close/>
              </a:path>
              <a:path w="13428344" h="7560309">
                <a:moveTo>
                  <a:pt x="9683991" y="6804571"/>
                </a:moveTo>
                <a:lnTo>
                  <a:pt x="9679940" y="6759384"/>
                </a:lnTo>
                <a:lnTo>
                  <a:pt x="9668256" y="6716852"/>
                </a:lnTo>
                <a:lnTo>
                  <a:pt x="9649663" y="6677685"/>
                </a:lnTo>
                <a:lnTo>
                  <a:pt x="9624860" y="6642595"/>
                </a:lnTo>
                <a:lnTo>
                  <a:pt x="9594558" y="6612280"/>
                </a:lnTo>
                <a:lnTo>
                  <a:pt x="9559468" y="6587477"/>
                </a:lnTo>
                <a:lnTo>
                  <a:pt x="9520301" y="6568884"/>
                </a:lnTo>
                <a:lnTo>
                  <a:pt x="9477756" y="6557200"/>
                </a:lnTo>
                <a:lnTo>
                  <a:pt x="9432569" y="6553149"/>
                </a:lnTo>
                <a:lnTo>
                  <a:pt x="9387370" y="6557200"/>
                </a:lnTo>
                <a:lnTo>
                  <a:pt x="9344838" y="6568884"/>
                </a:lnTo>
                <a:lnTo>
                  <a:pt x="9305658" y="6587477"/>
                </a:lnTo>
                <a:lnTo>
                  <a:pt x="9270568" y="6612280"/>
                </a:lnTo>
                <a:lnTo>
                  <a:pt x="9240266" y="6642595"/>
                </a:lnTo>
                <a:lnTo>
                  <a:pt x="9215463" y="6677685"/>
                </a:lnTo>
                <a:lnTo>
                  <a:pt x="9196857" y="6716852"/>
                </a:lnTo>
                <a:lnTo>
                  <a:pt x="9185186" y="6759384"/>
                </a:lnTo>
                <a:lnTo>
                  <a:pt x="9181135" y="6804571"/>
                </a:lnTo>
                <a:lnTo>
                  <a:pt x="9185186" y="6849770"/>
                </a:lnTo>
                <a:lnTo>
                  <a:pt x="9196857" y="6892303"/>
                </a:lnTo>
                <a:lnTo>
                  <a:pt x="9215463" y="6931482"/>
                </a:lnTo>
                <a:lnTo>
                  <a:pt x="9240266" y="6966572"/>
                </a:lnTo>
                <a:lnTo>
                  <a:pt x="9270568" y="6996874"/>
                </a:lnTo>
                <a:lnTo>
                  <a:pt x="9305658" y="7021677"/>
                </a:lnTo>
                <a:lnTo>
                  <a:pt x="9344838" y="7040283"/>
                </a:lnTo>
                <a:lnTo>
                  <a:pt x="9387370" y="7051954"/>
                </a:lnTo>
                <a:lnTo>
                  <a:pt x="9432569" y="7056006"/>
                </a:lnTo>
                <a:lnTo>
                  <a:pt x="9477756" y="7051954"/>
                </a:lnTo>
                <a:lnTo>
                  <a:pt x="9520301" y="7040283"/>
                </a:lnTo>
                <a:lnTo>
                  <a:pt x="9559468" y="7021677"/>
                </a:lnTo>
                <a:lnTo>
                  <a:pt x="9594558" y="6996874"/>
                </a:lnTo>
                <a:lnTo>
                  <a:pt x="9624860" y="6966572"/>
                </a:lnTo>
                <a:lnTo>
                  <a:pt x="9649663" y="6931482"/>
                </a:lnTo>
                <a:lnTo>
                  <a:pt x="9668256" y="6892303"/>
                </a:lnTo>
                <a:lnTo>
                  <a:pt x="9679940" y="6849770"/>
                </a:lnTo>
                <a:lnTo>
                  <a:pt x="9683991" y="6804571"/>
                </a:lnTo>
                <a:close/>
              </a:path>
              <a:path w="13428344" h="7560309">
                <a:moveTo>
                  <a:pt x="10395331" y="7534681"/>
                </a:moveTo>
                <a:lnTo>
                  <a:pt x="10392639" y="7487958"/>
                </a:lnTo>
                <a:lnTo>
                  <a:pt x="10384752" y="7442809"/>
                </a:lnTo>
                <a:lnTo>
                  <a:pt x="10371976" y="7399553"/>
                </a:lnTo>
                <a:lnTo>
                  <a:pt x="10354615" y="7358481"/>
                </a:lnTo>
                <a:lnTo>
                  <a:pt x="10332949" y="7319886"/>
                </a:lnTo>
                <a:lnTo>
                  <a:pt x="10307307" y="7284085"/>
                </a:lnTo>
                <a:lnTo>
                  <a:pt x="10277983" y="7251370"/>
                </a:lnTo>
                <a:lnTo>
                  <a:pt x="10245268" y="7222033"/>
                </a:lnTo>
                <a:lnTo>
                  <a:pt x="10209454" y="7196391"/>
                </a:lnTo>
                <a:lnTo>
                  <a:pt x="10170871" y="7174738"/>
                </a:lnTo>
                <a:lnTo>
                  <a:pt x="10129787" y="7157377"/>
                </a:lnTo>
                <a:lnTo>
                  <a:pt x="10086530" y="7144601"/>
                </a:lnTo>
                <a:lnTo>
                  <a:pt x="10041395" y="7136714"/>
                </a:lnTo>
                <a:lnTo>
                  <a:pt x="9994659" y="7134009"/>
                </a:lnTo>
                <a:lnTo>
                  <a:pt x="9947935" y="7136714"/>
                </a:lnTo>
                <a:lnTo>
                  <a:pt x="9902787" y="7144601"/>
                </a:lnTo>
                <a:lnTo>
                  <a:pt x="9859531" y="7157377"/>
                </a:lnTo>
                <a:lnTo>
                  <a:pt x="9818459" y="7174738"/>
                </a:lnTo>
                <a:lnTo>
                  <a:pt x="9779864" y="7196391"/>
                </a:lnTo>
                <a:lnTo>
                  <a:pt x="9744062" y="7222033"/>
                </a:lnTo>
                <a:lnTo>
                  <a:pt x="9711347" y="7251370"/>
                </a:lnTo>
                <a:lnTo>
                  <a:pt x="9682010" y="7284085"/>
                </a:lnTo>
                <a:lnTo>
                  <a:pt x="9656369" y="7319886"/>
                </a:lnTo>
                <a:lnTo>
                  <a:pt x="9634715" y="7358481"/>
                </a:lnTo>
                <a:lnTo>
                  <a:pt x="9617354" y="7399553"/>
                </a:lnTo>
                <a:lnTo>
                  <a:pt x="9604578" y="7442809"/>
                </a:lnTo>
                <a:lnTo>
                  <a:pt x="9596691" y="7487958"/>
                </a:lnTo>
                <a:lnTo>
                  <a:pt x="9593986" y="7534681"/>
                </a:lnTo>
                <a:lnTo>
                  <a:pt x="9595447" y="7560005"/>
                </a:lnTo>
                <a:lnTo>
                  <a:pt x="10393870" y="7560005"/>
                </a:lnTo>
                <a:lnTo>
                  <a:pt x="10395331" y="7534681"/>
                </a:lnTo>
                <a:close/>
              </a:path>
              <a:path w="13428344" h="7560309">
                <a:moveTo>
                  <a:pt x="10611333" y="6562687"/>
                </a:moveTo>
                <a:lnTo>
                  <a:pt x="10608640" y="6515963"/>
                </a:lnTo>
                <a:lnTo>
                  <a:pt x="10600754" y="6470815"/>
                </a:lnTo>
                <a:lnTo>
                  <a:pt x="10587977" y="6427559"/>
                </a:lnTo>
                <a:lnTo>
                  <a:pt x="10570604" y="6386474"/>
                </a:lnTo>
                <a:lnTo>
                  <a:pt x="10548950" y="6347892"/>
                </a:lnTo>
                <a:lnTo>
                  <a:pt x="10523309" y="6312090"/>
                </a:lnTo>
                <a:lnTo>
                  <a:pt x="10493985" y="6279362"/>
                </a:lnTo>
                <a:lnTo>
                  <a:pt x="10461257" y="6250038"/>
                </a:lnTo>
                <a:lnTo>
                  <a:pt x="10425455" y="6224397"/>
                </a:lnTo>
                <a:lnTo>
                  <a:pt x="10386873" y="6202731"/>
                </a:lnTo>
                <a:lnTo>
                  <a:pt x="10345788" y="6185370"/>
                </a:lnTo>
                <a:lnTo>
                  <a:pt x="10302532" y="6172593"/>
                </a:lnTo>
                <a:lnTo>
                  <a:pt x="10257384" y="6164707"/>
                </a:lnTo>
                <a:lnTo>
                  <a:pt x="10210660" y="6162014"/>
                </a:lnTo>
                <a:lnTo>
                  <a:pt x="10163937" y="6164707"/>
                </a:lnTo>
                <a:lnTo>
                  <a:pt x="10118788" y="6172593"/>
                </a:lnTo>
                <a:lnTo>
                  <a:pt x="10075532" y="6185370"/>
                </a:lnTo>
                <a:lnTo>
                  <a:pt x="10034460" y="6202731"/>
                </a:lnTo>
                <a:lnTo>
                  <a:pt x="9995865" y="6224397"/>
                </a:lnTo>
                <a:lnTo>
                  <a:pt x="9960064" y="6250038"/>
                </a:lnTo>
                <a:lnTo>
                  <a:pt x="9927349" y="6279362"/>
                </a:lnTo>
                <a:lnTo>
                  <a:pt x="9898012" y="6312090"/>
                </a:lnTo>
                <a:lnTo>
                  <a:pt x="9872370" y="6347892"/>
                </a:lnTo>
                <a:lnTo>
                  <a:pt x="9850717" y="6386474"/>
                </a:lnTo>
                <a:lnTo>
                  <a:pt x="9833343" y="6427559"/>
                </a:lnTo>
                <a:lnTo>
                  <a:pt x="9820567" y="6470815"/>
                </a:lnTo>
                <a:lnTo>
                  <a:pt x="9812680" y="6515963"/>
                </a:lnTo>
                <a:lnTo>
                  <a:pt x="9809988" y="6562687"/>
                </a:lnTo>
                <a:lnTo>
                  <a:pt x="9812680" y="6609410"/>
                </a:lnTo>
                <a:lnTo>
                  <a:pt x="9820567" y="6654559"/>
                </a:lnTo>
                <a:lnTo>
                  <a:pt x="9833343" y="6697815"/>
                </a:lnTo>
                <a:lnTo>
                  <a:pt x="9850717" y="6738887"/>
                </a:lnTo>
                <a:lnTo>
                  <a:pt x="9872370" y="6777482"/>
                </a:lnTo>
                <a:lnTo>
                  <a:pt x="9898012" y="6813283"/>
                </a:lnTo>
                <a:lnTo>
                  <a:pt x="9927349" y="6845998"/>
                </a:lnTo>
                <a:lnTo>
                  <a:pt x="9960064" y="6875323"/>
                </a:lnTo>
                <a:lnTo>
                  <a:pt x="9995865" y="6900964"/>
                </a:lnTo>
                <a:lnTo>
                  <a:pt x="10034460" y="6922617"/>
                </a:lnTo>
                <a:lnTo>
                  <a:pt x="10075532" y="6939991"/>
                </a:lnTo>
                <a:lnTo>
                  <a:pt x="10118788" y="6952767"/>
                </a:lnTo>
                <a:lnTo>
                  <a:pt x="10163937" y="6960654"/>
                </a:lnTo>
                <a:lnTo>
                  <a:pt x="10210660" y="6963346"/>
                </a:lnTo>
                <a:lnTo>
                  <a:pt x="10257384" y="6960654"/>
                </a:lnTo>
                <a:lnTo>
                  <a:pt x="10302532" y="6952767"/>
                </a:lnTo>
                <a:lnTo>
                  <a:pt x="10345788" y="6939991"/>
                </a:lnTo>
                <a:lnTo>
                  <a:pt x="10386873" y="6922617"/>
                </a:lnTo>
                <a:lnTo>
                  <a:pt x="10425455" y="6900964"/>
                </a:lnTo>
                <a:lnTo>
                  <a:pt x="10461257" y="6875323"/>
                </a:lnTo>
                <a:lnTo>
                  <a:pt x="10493985" y="6845998"/>
                </a:lnTo>
                <a:lnTo>
                  <a:pt x="10523309" y="6813283"/>
                </a:lnTo>
                <a:lnTo>
                  <a:pt x="10548950" y="6777482"/>
                </a:lnTo>
                <a:lnTo>
                  <a:pt x="10570604" y="6738887"/>
                </a:lnTo>
                <a:lnTo>
                  <a:pt x="10587977" y="6697815"/>
                </a:lnTo>
                <a:lnTo>
                  <a:pt x="10600754" y="6654559"/>
                </a:lnTo>
                <a:lnTo>
                  <a:pt x="10608640" y="6609410"/>
                </a:lnTo>
                <a:lnTo>
                  <a:pt x="10611333" y="6562687"/>
                </a:lnTo>
                <a:close/>
              </a:path>
              <a:path w="13428344" h="7560309">
                <a:moveTo>
                  <a:pt x="13427951" y="4216793"/>
                </a:moveTo>
                <a:lnTo>
                  <a:pt x="13384009" y="4191304"/>
                </a:lnTo>
                <a:lnTo>
                  <a:pt x="13342938" y="4173944"/>
                </a:lnTo>
                <a:lnTo>
                  <a:pt x="13299669" y="4161167"/>
                </a:lnTo>
                <a:lnTo>
                  <a:pt x="13254533" y="4153281"/>
                </a:lnTo>
                <a:lnTo>
                  <a:pt x="13207810" y="4150576"/>
                </a:lnTo>
                <a:lnTo>
                  <a:pt x="13161074" y="4153281"/>
                </a:lnTo>
                <a:lnTo>
                  <a:pt x="13115938" y="4161167"/>
                </a:lnTo>
                <a:lnTo>
                  <a:pt x="13072669" y="4173944"/>
                </a:lnTo>
                <a:lnTo>
                  <a:pt x="13031597" y="4191304"/>
                </a:lnTo>
                <a:lnTo>
                  <a:pt x="12993015" y="4212958"/>
                </a:lnTo>
                <a:lnTo>
                  <a:pt x="12957201" y="4238599"/>
                </a:lnTo>
                <a:lnTo>
                  <a:pt x="12924485" y="4267936"/>
                </a:lnTo>
                <a:lnTo>
                  <a:pt x="12895161" y="4300652"/>
                </a:lnTo>
                <a:lnTo>
                  <a:pt x="12869507" y="4336453"/>
                </a:lnTo>
                <a:lnTo>
                  <a:pt x="12847854" y="4375048"/>
                </a:lnTo>
                <a:lnTo>
                  <a:pt x="12830493" y="4416120"/>
                </a:lnTo>
                <a:lnTo>
                  <a:pt x="12817716" y="4459389"/>
                </a:lnTo>
                <a:lnTo>
                  <a:pt x="12809830" y="4504525"/>
                </a:lnTo>
                <a:lnTo>
                  <a:pt x="12807137" y="4551248"/>
                </a:lnTo>
                <a:lnTo>
                  <a:pt x="12809830" y="4597971"/>
                </a:lnTo>
                <a:lnTo>
                  <a:pt x="12817716" y="4643120"/>
                </a:lnTo>
                <a:lnTo>
                  <a:pt x="12830493" y="4686376"/>
                </a:lnTo>
                <a:lnTo>
                  <a:pt x="12847854" y="4727448"/>
                </a:lnTo>
                <a:lnTo>
                  <a:pt x="12869507" y="4766043"/>
                </a:lnTo>
                <a:lnTo>
                  <a:pt x="12895161" y="4801844"/>
                </a:lnTo>
                <a:lnTo>
                  <a:pt x="12924485" y="4834560"/>
                </a:lnTo>
                <a:lnTo>
                  <a:pt x="12957201" y="4863897"/>
                </a:lnTo>
                <a:lnTo>
                  <a:pt x="12993015" y="4889538"/>
                </a:lnTo>
                <a:lnTo>
                  <a:pt x="13031597" y="4911191"/>
                </a:lnTo>
                <a:lnTo>
                  <a:pt x="13072669" y="4928552"/>
                </a:lnTo>
                <a:lnTo>
                  <a:pt x="13115938" y="4941328"/>
                </a:lnTo>
                <a:lnTo>
                  <a:pt x="13161074" y="4949215"/>
                </a:lnTo>
                <a:lnTo>
                  <a:pt x="13207810" y="4951908"/>
                </a:lnTo>
                <a:lnTo>
                  <a:pt x="13254533" y="4949215"/>
                </a:lnTo>
                <a:lnTo>
                  <a:pt x="13299669" y="4941328"/>
                </a:lnTo>
                <a:lnTo>
                  <a:pt x="13342938" y="4928552"/>
                </a:lnTo>
                <a:lnTo>
                  <a:pt x="13384009" y="4911191"/>
                </a:lnTo>
                <a:lnTo>
                  <a:pt x="13422605" y="4889538"/>
                </a:lnTo>
                <a:lnTo>
                  <a:pt x="13427951" y="4885702"/>
                </a:lnTo>
                <a:lnTo>
                  <a:pt x="13427951" y="4216793"/>
                </a:lnTo>
                <a:close/>
              </a:path>
              <a:path w="13428344" h="7560309">
                <a:moveTo>
                  <a:pt x="13427951" y="2274125"/>
                </a:moveTo>
                <a:lnTo>
                  <a:pt x="13356323" y="2246414"/>
                </a:lnTo>
                <a:lnTo>
                  <a:pt x="13312559" y="2233130"/>
                </a:lnTo>
                <a:lnTo>
                  <a:pt x="13267868" y="2222106"/>
                </a:lnTo>
                <a:lnTo>
                  <a:pt x="13222300" y="2213419"/>
                </a:lnTo>
                <a:lnTo>
                  <a:pt x="13175920" y="2207120"/>
                </a:lnTo>
                <a:lnTo>
                  <a:pt x="13128803" y="2203297"/>
                </a:lnTo>
                <a:lnTo>
                  <a:pt x="13081013" y="2202015"/>
                </a:lnTo>
                <a:lnTo>
                  <a:pt x="13033223" y="2203297"/>
                </a:lnTo>
                <a:lnTo>
                  <a:pt x="12986106" y="2207120"/>
                </a:lnTo>
                <a:lnTo>
                  <a:pt x="12939725" y="2213419"/>
                </a:lnTo>
                <a:lnTo>
                  <a:pt x="12894158" y="2222106"/>
                </a:lnTo>
                <a:lnTo>
                  <a:pt x="12849454" y="2233130"/>
                </a:lnTo>
                <a:lnTo>
                  <a:pt x="12805702" y="2246414"/>
                </a:lnTo>
                <a:lnTo>
                  <a:pt x="12762954" y="2261908"/>
                </a:lnTo>
                <a:lnTo>
                  <a:pt x="12721273" y="2279535"/>
                </a:lnTo>
                <a:lnTo>
                  <a:pt x="12680722" y="2299233"/>
                </a:lnTo>
                <a:lnTo>
                  <a:pt x="12641390" y="2320937"/>
                </a:lnTo>
                <a:lnTo>
                  <a:pt x="12603328" y="2344572"/>
                </a:lnTo>
                <a:lnTo>
                  <a:pt x="12566599" y="2370074"/>
                </a:lnTo>
                <a:lnTo>
                  <a:pt x="12531281" y="2397379"/>
                </a:lnTo>
                <a:lnTo>
                  <a:pt x="12497422" y="2426411"/>
                </a:lnTo>
                <a:lnTo>
                  <a:pt x="12465114" y="2457132"/>
                </a:lnTo>
                <a:lnTo>
                  <a:pt x="12434392" y="2489441"/>
                </a:lnTo>
                <a:lnTo>
                  <a:pt x="12405360" y="2523299"/>
                </a:lnTo>
                <a:lnTo>
                  <a:pt x="12378055" y="2558618"/>
                </a:lnTo>
                <a:lnTo>
                  <a:pt x="12352541" y="2595346"/>
                </a:lnTo>
                <a:lnTo>
                  <a:pt x="12328919" y="2633408"/>
                </a:lnTo>
                <a:lnTo>
                  <a:pt x="12307214" y="2672753"/>
                </a:lnTo>
                <a:lnTo>
                  <a:pt x="12287517" y="2713291"/>
                </a:lnTo>
                <a:lnTo>
                  <a:pt x="12269889" y="2754973"/>
                </a:lnTo>
                <a:lnTo>
                  <a:pt x="12254395" y="2797721"/>
                </a:lnTo>
                <a:lnTo>
                  <a:pt x="12241111" y="2841485"/>
                </a:lnTo>
                <a:lnTo>
                  <a:pt x="12230087" y="2886176"/>
                </a:lnTo>
                <a:lnTo>
                  <a:pt x="12221388" y="2931744"/>
                </a:lnTo>
                <a:lnTo>
                  <a:pt x="12215101" y="2978124"/>
                </a:lnTo>
                <a:lnTo>
                  <a:pt x="12211279" y="3025241"/>
                </a:lnTo>
                <a:lnTo>
                  <a:pt x="12209996" y="3073031"/>
                </a:lnTo>
                <a:lnTo>
                  <a:pt x="12211279" y="3120821"/>
                </a:lnTo>
                <a:lnTo>
                  <a:pt x="12215101" y="3167938"/>
                </a:lnTo>
                <a:lnTo>
                  <a:pt x="12221388" y="3214319"/>
                </a:lnTo>
                <a:lnTo>
                  <a:pt x="12230087" y="3259886"/>
                </a:lnTo>
                <a:lnTo>
                  <a:pt x="12241111" y="3304578"/>
                </a:lnTo>
                <a:lnTo>
                  <a:pt x="12254395" y="3348342"/>
                </a:lnTo>
                <a:lnTo>
                  <a:pt x="12269889" y="3391090"/>
                </a:lnTo>
                <a:lnTo>
                  <a:pt x="12287517" y="3432772"/>
                </a:lnTo>
                <a:lnTo>
                  <a:pt x="12307214" y="3473310"/>
                </a:lnTo>
                <a:lnTo>
                  <a:pt x="12328919" y="3512655"/>
                </a:lnTo>
                <a:lnTo>
                  <a:pt x="12352541" y="3550716"/>
                </a:lnTo>
                <a:lnTo>
                  <a:pt x="12378055" y="3587445"/>
                </a:lnTo>
                <a:lnTo>
                  <a:pt x="12405360" y="3622764"/>
                </a:lnTo>
                <a:lnTo>
                  <a:pt x="12434392" y="3656622"/>
                </a:lnTo>
                <a:lnTo>
                  <a:pt x="12465114" y="3688931"/>
                </a:lnTo>
                <a:lnTo>
                  <a:pt x="12497422" y="3719639"/>
                </a:lnTo>
                <a:lnTo>
                  <a:pt x="12531281" y="3748684"/>
                </a:lnTo>
                <a:lnTo>
                  <a:pt x="12566599" y="3775989"/>
                </a:lnTo>
                <a:lnTo>
                  <a:pt x="12603328" y="3801491"/>
                </a:lnTo>
                <a:lnTo>
                  <a:pt x="12641390" y="3825125"/>
                </a:lnTo>
                <a:lnTo>
                  <a:pt x="12680722" y="3846830"/>
                </a:lnTo>
                <a:lnTo>
                  <a:pt x="12721273" y="3866527"/>
                </a:lnTo>
                <a:lnTo>
                  <a:pt x="12762954" y="3884155"/>
                </a:lnTo>
                <a:lnTo>
                  <a:pt x="12805702" y="3899636"/>
                </a:lnTo>
                <a:lnTo>
                  <a:pt x="12849454" y="3912933"/>
                </a:lnTo>
                <a:lnTo>
                  <a:pt x="12894158" y="3923957"/>
                </a:lnTo>
                <a:lnTo>
                  <a:pt x="12939725" y="3932644"/>
                </a:lnTo>
                <a:lnTo>
                  <a:pt x="12986106" y="3938930"/>
                </a:lnTo>
                <a:lnTo>
                  <a:pt x="13033223" y="3942753"/>
                </a:lnTo>
                <a:lnTo>
                  <a:pt x="13081013" y="3944048"/>
                </a:lnTo>
                <a:lnTo>
                  <a:pt x="13128803" y="3942753"/>
                </a:lnTo>
                <a:lnTo>
                  <a:pt x="13175920" y="3938930"/>
                </a:lnTo>
                <a:lnTo>
                  <a:pt x="13222300" y="3932644"/>
                </a:lnTo>
                <a:lnTo>
                  <a:pt x="13267868" y="3923957"/>
                </a:lnTo>
                <a:lnTo>
                  <a:pt x="13312559" y="3912933"/>
                </a:lnTo>
                <a:lnTo>
                  <a:pt x="13356323" y="3899636"/>
                </a:lnTo>
                <a:lnTo>
                  <a:pt x="13399072" y="3884155"/>
                </a:lnTo>
                <a:lnTo>
                  <a:pt x="13427951" y="3871938"/>
                </a:lnTo>
                <a:lnTo>
                  <a:pt x="13427951" y="2274125"/>
                </a:lnTo>
                <a:close/>
              </a:path>
            </a:pathLst>
          </a:custGeom>
          <a:solidFill>
            <a:srgbClr val="00AFFF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032" y="323841"/>
            <a:ext cx="2409934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42828" y="4045890"/>
            <a:ext cx="2694661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BF7EEC-507A-5DAF-041E-6C88DA7CD3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59810" y="5994450"/>
            <a:ext cx="2177679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56A3293-0A25-9254-24C1-0102A4EFA6A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528540" y="569748"/>
            <a:ext cx="2993617" cy="295342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278CA799-987B-A375-4C17-9D3DEB73736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129092" y="2844799"/>
            <a:ext cx="5166198" cy="509683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0AD25F3-855C-5EB6-FE7B-3C66BC00A2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21221" y="-501494"/>
            <a:ext cx="3537548" cy="34900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296069B-042B-27A3-FD0E-ECE4DCE3A47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173795" y="3523173"/>
            <a:ext cx="2005782" cy="19788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82310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658028" y="4109545"/>
            <a:ext cx="4243583" cy="143685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8553A972-1E95-D470-43E7-20722BD9B698}"/>
              </a:ext>
            </a:extLst>
          </p:cNvPr>
          <p:cNvSpPr/>
          <p:nvPr/>
        </p:nvSpPr>
        <p:spPr>
          <a:xfrm>
            <a:off x="8504433" y="4290554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34" y="0"/>
                </a:moveTo>
                <a:lnTo>
                  <a:pt x="206239" y="4051"/>
                </a:lnTo>
                <a:lnTo>
                  <a:pt x="163701" y="15730"/>
                </a:lnTo>
                <a:lnTo>
                  <a:pt x="124531" y="34328"/>
                </a:lnTo>
                <a:lnTo>
                  <a:pt x="89439" y="59134"/>
                </a:lnTo>
                <a:lnTo>
                  <a:pt x="59134" y="89439"/>
                </a:lnTo>
                <a:lnTo>
                  <a:pt x="34328" y="124531"/>
                </a:lnTo>
                <a:lnTo>
                  <a:pt x="15730" y="163701"/>
                </a:lnTo>
                <a:lnTo>
                  <a:pt x="4051" y="206239"/>
                </a:lnTo>
                <a:lnTo>
                  <a:pt x="0" y="251434"/>
                </a:lnTo>
                <a:lnTo>
                  <a:pt x="4051" y="296626"/>
                </a:lnTo>
                <a:lnTo>
                  <a:pt x="15730" y="339160"/>
                </a:lnTo>
                <a:lnTo>
                  <a:pt x="34328" y="378328"/>
                </a:lnTo>
                <a:lnTo>
                  <a:pt x="59134" y="413419"/>
                </a:lnTo>
                <a:lnTo>
                  <a:pt x="89439" y="443722"/>
                </a:lnTo>
                <a:lnTo>
                  <a:pt x="124531" y="468528"/>
                </a:lnTo>
                <a:lnTo>
                  <a:pt x="163701" y="487126"/>
                </a:lnTo>
                <a:lnTo>
                  <a:pt x="206239" y="498805"/>
                </a:lnTo>
                <a:lnTo>
                  <a:pt x="251434" y="502856"/>
                </a:lnTo>
                <a:lnTo>
                  <a:pt x="296629" y="498805"/>
                </a:lnTo>
                <a:lnTo>
                  <a:pt x="339165" y="487126"/>
                </a:lnTo>
                <a:lnTo>
                  <a:pt x="378334" y="468528"/>
                </a:lnTo>
                <a:lnTo>
                  <a:pt x="413424" y="443722"/>
                </a:lnTo>
                <a:lnTo>
                  <a:pt x="443726" y="413419"/>
                </a:lnTo>
                <a:lnTo>
                  <a:pt x="468531" y="378328"/>
                </a:lnTo>
                <a:lnTo>
                  <a:pt x="487127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7" y="163701"/>
                </a:lnTo>
                <a:lnTo>
                  <a:pt x="468531" y="124531"/>
                </a:lnTo>
                <a:lnTo>
                  <a:pt x="443726" y="89439"/>
                </a:lnTo>
                <a:lnTo>
                  <a:pt x="413424" y="59134"/>
                </a:lnTo>
                <a:lnTo>
                  <a:pt x="378334" y="34328"/>
                </a:lnTo>
                <a:lnTo>
                  <a:pt x="339165" y="15730"/>
                </a:lnTo>
                <a:lnTo>
                  <a:pt x="296629" y="4051"/>
                </a:lnTo>
                <a:lnTo>
                  <a:pt x="251434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745FCC51-35A5-6552-1BCA-809EA904C4EA}"/>
              </a:ext>
            </a:extLst>
          </p:cNvPr>
          <p:cNvSpPr/>
          <p:nvPr/>
        </p:nvSpPr>
        <p:spPr>
          <a:xfrm>
            <a:off x="2057190" y="5942400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19" h="502920">
                <a:moveTo>
                  <a:pt x="251421" y="0"/>
                </a:moveTo>
                <a:lnTo>
                  <a:pt x="206227" y="4050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3"/>
                </a:lnTo>
                <a:lnTo>
                  <a:pt x="59129" y="89437"/>
                </a:lnTo>
                <a:lnTo>
                  <a:pt x="34325" y="124527"/>
                </a:lnTo>
                <a:lnTo>
                  <a:pt x="15728" y="163695"/>
                </a:lnTo>
                <a:lnTo>
                  <a:pt x="4050" y="206230"/>
                </a:lnTo>
                <a:lnTo>
                  <a:pt x="0" y="251421"/>
                </a:lnTo>
                <a:lnTo>
                  <a:pt x="4050" y="296617"/>
                </a:lnTo>
                <a:lnTo>
                  <a:pt x="15728" y="339154"/>
                </a:lnTo>
                <a:lnTo>
                  <a:pt x="34325" y="378325"/>
                </a:lnTo>
                <a:lnTo>
                  <a:pt x="59129" y="413417"/>
                </a:lnTo>
                <a:lnTo>
                  <a:pt x="89431" y="443721"/>
                </a:lnTo>
                <a:lnTo>
                  <a:pt x="124522" y="468527"/>
                </a:lnTo>
                <a:lnTo>
                  <a:pt x="163690" y="487125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5"/>
                </a:lnTo>
                <a:lnTo>
                  <a:pt x="378325" y="468527"/>
                </a:lnTo>
                <a:lnTo>
                  <a:pt x="413417" y="443721"/>
                </a:lnTo>
                <a:lnTo>
                  <a:pt x="443721" y="413417"/>
                </a:lnTo>
                <a:lnTo>
                  <a:pt x="468527" y="378325"/>
                </a:lnTo>
                <a:lnTo>
                  <a:pt x="487125" y="339154"/>
                </a:lnTo>
                <a:lnTo>
                  <a:pt x="498805" y="296617"/>
                </a:lnTo>
                <a:lnTo>
                  <a:pt x="502856" y="251421"/>
                </a:lnTo>
                <a:lnTo>
                  <a:pt x="498805" y="206230"/>
                </a:lnTo>
                <a:lnTo>
                  <a:pt x="487125" y="163695"/>
                </a:lnTo>
                <a:lnTo>
                  <a:pt x="468527" y="124527"/>
                </a:lnTo>
                <a:lnTo>
                  <a:pt x="443721" y="89437"/>
                </a:lnTo>
                <a:lnTo>
                  <a:pt x="413417" y="59133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0"/>
                </a:lnTo>
                <a:lnTo>
                  <a:pt x="251421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9">
            <a:extLst>
              <a:ext uri="{FF2B5EF4-FFF2-40B4-BE49-F238E27FC236}">
                <a16:creationId xmlns:a16="http://schemas.microsoft.com/office/drawing/2014/main" id="{C5EB0FD8-7C29-F50A-8BC6-F6015FCF50C1}"/>
              </a:ext>
            </a:extLst>
          </p:cNvPr>
          <p:cNvSpPr/>
          <p:nvPr/>
        </p:nvSpPr>
        <p:spPr>
          <a:xfrm>
            <a:off x="8267563" y="4977217"/>
            <a:ext cx="2079857" cy="1878320"/>
          </a:xfrm>
          <a:custGeom>
            <a:avLst/>
            <a:gdLst/>
            <a:ahLst/>
            <a:cxnLst/>
            <a:rect l="l" t="t" r="r" b="b"/>
            <a:pathLst>
              <a:path w="2293620" h="2071370">
                <a:moveTo>
                  <a:pt x="1146619" y="0"/>
                </a:moveTo>
                <a:lnTo>
                  <a:pt x="1098150" y="1005"/>
                </a:lnTo>
                <a:lnTo>
                  <a:pt x="1050193" y="3997"/>
                </a:lnTo>
                <a:lnTo>
                  <a:pt x="1002790" y="8933"/>
                </a:lnTo>
                <a:lnTo>
                  <a:pt x="955978" y="15776"/>
                </a:lnTo>
                <a:lnTo>
                  <a:pt x="909799" y="24484"/>
                </a:lnTo>
                <a:lnTo>
                  <a:pt x="864291" y="35018"/>
                </a:lnTo>
                <a:lnTo>
                  <a:pt x="819496" y="47339"/>
                </a:lnTo>
                <a:lnTo>
                  <a:pt x="775452" y="61406"/>
                </a:lnTo>
                <a:lnTo>
                  <a:pt x="732199" y="77180"/>
                </a:lnTo>
                <a:lnTo>
                  <a:pt x="689778" y="94621"/>
                </a:lnTo>
                <a:lnTo>
                  <a:pt x="648227" y="113689"/>
                </a:lnTo>
                <a:lnTo>
                  <a:pt x="607588" y="134344"/>
                </a:lnTo>
                <a:lnTo>
                  <a:pt x="567898" y="156547"/>
                </a:lnTo>
                <a:lnTo>
                  <a:pt x="529199" y="180257"/>
                </a:lnTo>
                <a:lnTo>
                  <a:pt x="491531" y="205436"/>
                </a:lnTo>
                <a:lnTo>
                  <a:pt x="454932" y="232042"/>
                </a:lnTo>
                <a:lnTo>
                  <a:pt x="419443" y="260037"/>
                </a:lnTo>
                <a:lnTo>
                  <a:pt x="385103" y="289380"/>
                </a:lnTo>
                <a:lnTo>
                  <a:pt x="351953" y="320032"/>
                </a:lnTo>
                <a:lnTo>
                  <a:pt x="320032" y="351953"/>
                </a:lnTo>
                <a:lnTo>
                  <a:pt x="289380" y="385103"/>
                </a:lnTo>
                <a:lnTo>
                  <a:pt x="260037" y="419443"/>
                </a:lnTo>
                <a:lnTo>
                  <a:pt x="232042" y="454932"/>
                </a:lnTo>
                <a:lnTo>
                  <a:pt x="205436" y="491531"/>
                </a:lnTo>
                <a:lnTo>
                  <a:pt x="180257" y="529199"/>
                </a:lnTo>
                <a:lnTo>
                  <a:pt x="156547" y="567898"/>
                </a:lnTo>
                <a:lnTo>
                  <a:pt x="134344" y="607588"/>
                </a:lnTo>
                <a:lnTo>
                  <a:pt x="113689" y="648227"/>
                </a:lnTo>
                <a:lnTo>
                  <a:pt x="94621" y="689778"/>
                </a:lnTo>
                <a:lnTo>
                  <a:pt x="77180" y="732199"/>
                </a:lnTo>
                <a:lnTo>
                  <a:pt x="61406" y="775452"/>
                </a:lnTo>
                <a:lnTo>
                  <a:pt x="47339" y="819496"/>
                </a:lnTo>
                <a:lnTo>
                  <a:pt x="35018" y="864291"/>
                </a:lnTo>
                <a:lnTo>
                  <a:pt x="24484" y="909799"/>
                </a:lnTo>
                <a:lnTo>
                  <a:pt x="15776" y="955978"/>
                </a:lnTo>
                <a:lnTo>
                  <a:pt x="8933" y="1002790"/>
                </a:lnTo>
                <a:lnTo>
                  <a:pt x="3997" y="1050193"/>
                </a:lnTo>
                <a:lnTo>
                  <a:pt x="1005" y="1098150"/>
                </a:lnTo>
                <a:lnTo>
                  <a:pt x="0" y="1146619"/>
                </a:lnTo>
                <a:lnTo>
                  <a:pt x="1005" y="1195088"/>
                </a:lnTo>
                <a:lnTo>
                  <a:pt x="3997" y="1243045"/>
                </a:lnTo>
                <a:lnTo>
                  <a:pt x="8933" y="1290448"/>
                </a:lnTo>
                <a:lnTo>
                  <a:pt x="15776" y="1337260"/>
                </a:lnTo>
                <a:lnTo>
                  <a:pt x="24484" y="1383439"/>
                </a:lnTo>
                <a:lnTo>
                  <a:pt x="35018" y="1428947"/>
                </a:lnTo>
                <a:lnTo>
                  <a:pt x="47339" y="1473742"/>
                </a:lnTo>
                <a:lnTo>
                  <a:pt x="61406" y="1517786"/>
                </a:lnTo>
                <a:lnTo>
                  <a:pt x="77180" y="1561039"/>
                </a:lnTo>
                <a:lnTo>
                  <a:pt x="94621" y="1603460"/>
                </a:lnTo>
                <a:lnTo>
                  <a:pt x="113689" y="1645011"/>
                </a:lnTo>
                <a:lnTo>
                  <a:pt x="134344" y="1685650"/>
                </a:lnTo>
                <a:lnTo>
                  <a:pt x="156547" y="1725340"/>
                </a:lnTo>
                <a:lnTo>
                  <a:pt x="180257" y="1764039"/>
                </a:lnTo>
                <a:lnTo>
                  <a:pt x="205436" y="1801707"/>
                </a:lnTo>
                <a:lnTo>
                  <a:pt x="232042" y="1838306"/>
                </a:lnTo>
                <a:lnTo>
                  <a:pt x="260037" y="1873795"/>
                </a:lnTo>
                <a:lnTo>
                  <a:pt x="289380" y="1908135"/>
                </a:lnTo>
                <a:lnTo>
                  <a:pt x="320032" y="1941285"/>
                </a:lnTo>
                <a:lnTo>
                  <a:pt x="351953" y="1973206"/>
                </a:lnTo>
                <a:lnTo>
                  <a:pt x="385103" y="2003858"/>
                </a:lnTo>
                <a:lnTo>
                  <a:pt x="419443" y="2033201"/>
                </a:lnTo>
                <a:lnTo>
                  <a:pt x="454932" y="2061196"/>
                </a:lnTo>
                <a:lnTo>
                  <a:pt x="468748" y="2071240"/>
                </a:lnTo>
                <a:lnTo>
                  <a:pt x="1824490" y="2071240"/>
                </a:lnTo>
                <a:lnTo>
                  <a:pt x="1873795" y="2033201"/>
                </a:lnTo>
                <a:lnTo>
                  <a:pt x="1908135" y="2003858"/>
                </a:lnTo>
                <a:lnTo>
                  <a:pt x="1941285" y="1973206"/>
                </a:lnTo>
                <a:lnTo>
                  <a:pt x="1973206" y="1941285"/>
                </a:lnTo>
                <a:lnTo>
                  <a:pt x="2003858" y="1908135"/>
                </a:lnTo>
                <a:lnTo>
                  <a:pt x="2033201" y="1873795"/>
                </a:lnTo>
                <a:lnTo>
                  <a:pt x="2061196" y="1838306"/>
                </a:lnTo>
                <a:lnTo>
                  <a:pt x="2087802" y="1801707"/>
                </a:lnTo>
                <a:lnTo>
                  <a:pt x="2112981" y="1764039"/>
                </a:lnTo>
                <a:lnTo>
                  <a:pt x="2136691" y="1725340"/>
                </a:lnTo>
                <a:lnTo>
                  <a:pt x="2158894" y="1685650"/>
                </a:lnTo>
                <a:lnTo>
                  <a:pt x="2179549" y="1645011"/>
                </a:lnTo>
                <a:lnTo>
                  <a:pt x="2198617" y="1603460"/>
                </a:lnTo>
                <a:lnTo>
                  <a:pt x="2216058" y="1561039"/>
                </a:lnTo>
                <a:lnTo>
                  <a:pt x="2231832" y="1517786"/>
                </a:lnTo>
                <a:lnTo>
                  <a:pt x="2245899" y="1473742"/>
                </a:lnTo>
                <a:lnTo>
                  <a:pt x="2258220" y="1428947"/>
                </a:lnTo>
                <a:lnTo>
                  <a:pt x="2268754" y="1383439"/>
                </a:lnTo>
                <a:lnTo>
                  <a:pt x="2277462" y="1337260"/>
                </a:lnTo>
                <a:lnTo>
                  <a:pt x="2284305" y="1290448"/>
                </a:lnTo>
                <a:lnTo>
                  <a:pt x="2289241" y="1243045"/>
                </a:lnTo>
                <a:lnTo>
                  <a:pt x="2292233" y="1195088"/>
                </a:lnTo>
                <a:lnTo>
                  <a:pt x="2293238" y="1146619"/>
                </a:lnTo>
                <a:lnTo>
                  <a:pt x="2292233" y="1098150"/>
                </a:lnTo>
                <a:lnTo>
                  <a:pt x="2289241" y="1050193"/>
                </a:lnTo>
                <a:lnTo>
                  <a:pt x="2284305" y="1002790"/>
                </a:lnTo>
                <a:lnTo>
                  <a:pt x="2277462" y="955978"/>
                </a:lnTo>
                <a:lnTo>
                  <a:pt x="2268754" y="909799"/>
                </a:lnTo>
                <a:lnTo>
                  <a:pt x="2258220" y="864291"/>
                </a:lnTo>
                <a:lnTo>
                  <a:pt x="2245899" y="819496"/>
                </a:lnTo>
                <a:lnTo>
                  <a:pt x="2231832" y="775452"/>
                </a:lnTo>
                <a:lnTo>
                  <a:pt x="2216058" y="732199"/>
                </a:lnTo>
                <a:lnTo>
                  <a:pt x="2198617" y="689778"/>
                </a:lnTo>
                <a:lnTo>
                  <a:pt x="2179549" y="648227"/>
                </a:lnTo>
                <a:lnTo>
                  <a:pt x="2158894" y="607588"/>
                </a:lnTo>
                <a:lnTo>
                  <a:pt x="2136691" y="567898"/>
                </a:lnTo>
                <a:lnTo>
                  <a:pt x="2112981" y="529199"/>
                </a:lnTo>
                <a:lnTo>
                  <a:pt x="2087802" y="491531"/>
                </a:lnTo>
                <a:lnTo>
                  <a:pt x="2061196" y="454932"/>
                </a:lnTo>
                <a:lnTo>
                  <a:pt x="2033201" y="419443"/>
                </a:lnTo>
                <a:lnTo>
                  <a:pt x="2003858" y="385103"/>
                </a:lnTo>
                <a:lnTo>
                  <a:pt x="1973206" y="351953"/>
                </a:lnTo>
                <a:lnTo>
                  <a:pt x="1941285" y="320032"/>
                </a:lnTo>
                <a:lnTo>
                  <a:pt x="1908135" y="289380"/>
                </a:lnTo>
                <a:lnTo>
                  <a:pt x="1873795" y="260037"/>
                </a:lnTo>
                <a:lnTo>
                  <a:pt x="1838306" y="232042"/>
                </a:lnTo>
                <a:lnTo>
                  <a:pt x="1801707" y="205436"/>
                </a:lnTo>
                <a:lnTo>
                  <a:pt x="1764039" y="180257"/>
                </a:lnTo>
                <a:lnTo>
                  <a:pt x="1725340" y="156547"/>
                </a:lnTo>
                <a:lnTo>
                  <a:pt x="1685650" y="134344"/>
                </a:lnTo>
                <a:lnTo>
                  <a:pt x="1645011" y="113689"/>
                </a:lnTo>
                <a:lnTo>
                  <a:pt x="1603460" y="94621"/>
                </a:lnTo>
                <a:lnTo>
                  <a:pt x="1561039" y="77180"/>
                </a:lnTo>
                <a:lnTo>
                  <a:pt x="1517786" y="61406"/>
                </a:lnTo>
                <a:lnTo>
                  <a:pt x="1473742" y="47339"/>
                </a:lnTo>
                <a:lnTo>
                  <a:pt x="1428947" y="35018"/>
                </a:lnTo>
                <a:lnTo>
                  <a:pt x="1383439" y="24484"/>
                </a:lnTo>
                <a:lnTo>
                  <a:pt x="1337260" y="15776"/>
                </a:lnTo>
                <a:lnTo>
                  <a:pt x="1290448" y="8933"/>
                </a:lnTo>
                <a:lnTo>
                  <a:pt x="1243045" y="3997"/>
                </a:lnTo>
                <a:lnTo>
                  <a:pt x="1195088" y="1005"/>
                </a:lnTo>
                <a:lnTo>
                  <a:pt x="1146619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A89A634F-3FAC-49AD-A2DA-F89F069C69B6}"/>
              </a:ext>
            </a:extLst>
          </p:cNvPr>
          <p:cNvSpPr/>
          <p:nvPr/>
        </p:nvSpPr>
        <p:spPr>
          <a:xfrm>
            <a:off x="10400414" y="1"/>
            <a:ext cx="1786189" cy="1731487"/>
          </a:xfrm>
          <a:custGeom>
            <a:avLst/>
            <a:gdLst/>
            <a:ahLst/>
            <a:cxnLst/>
            <a:rect l="l" t="t" r="r" b="b"/>
            <a:pathLst>
              <a:path w="1969769" h="1909445">
                <a:moveTo>
                  <a:pt x="1969200" y="0"/>
                </a:moveTo>
                <a:lnTo>
                  <a:pt x="290407" y="0"/>
                </a:lnTo>
                <a:lnTo>
                  <a:pt x="289380" y="1110"/>
                </a:lnTo>
                <a:lnTo>
                  <a:pt x="260037" y="35449"/>
                </a:lnTo>
                <a:lnTo>
                  <a:pt x="232042" y="70938"/>
                </a:lnTo>
                <a:lnTo>
                  <a:pt x="205436" y="107537"/>
                </a:lnTo>
                <a:lnTo>
                  <a:pt x="180257" y="145206"/>
                </a:lnTo>
                <a:lnTo>
                  <a:pt x="156547" y="183905"/>
                </a:lnTo>
                <a:lnTo>
                  <a:pt x="134344" y="223594"/>
                </a:lnTo>
                <a:lnTo>
                  <a:pt x="113689" y="264234"/>
                </a:lnTo>
                <a:lnTo>
                  <a:pt x="94621" y="305784"/>
                </a:lnTo>
                <a:lnTo>
                  <a:pt x="77180" y="348206"/>
                </a:lnTo>
                <a:lnTo>
                  <a:pt x="61406" y="391458"/>
                </a:lnTo>
                <a:lnTo>
                  <a:pt x="47339" y="435502"/>
                </a:lnTo>
                <a:lnTo>
                  <a:pt x="35018" y="480298"/>
                </a:lnTo>
                <a:lnTo>
                  <a:pt x="24484" y="525805"/>
                </a:lnTo>
                <a:lnTo>
                  <a:pt x="15776" y="571984"/>
                </a:lnTo>
                <a:lnTo>
                  <a:pt x="8933" y="618796"/>
                </a:lnTo>
                <a:lnTo>
                  <a:pt x="3997" y="666200"/>
                </a:lnTo>
                <a:lnTo>
                  <a:pt x="1005" y="714156"/>
                </a:lnTo>
                <a:lnTo>
                  <a:pt x="0" y="762625"/>
                </a:lnTo>
                <a:lnTo>
                  <a:pt x="1005" y="811095"/>
                </a:lnTo>
                <a:lnTo>
                  <a:pt x="3997" y="859051"/>
                </a:lnTo>
                <a:lnTo>
                  <a:pt x="8933" y="906455"/>
                </a:lnTo>
                <a:lnTo>
                  <a:pt x="15776" y="953266"/>
                </a:lnTo>
                <a:lnTo>
                  <a:pt x="24484" y="999446"/>
                </a:lnTo>
                <a:lnTo>
                  <a:pt x="35018" y="1044953"/>
                </a:lnTo>
                <a:lnTo>
                  <a:pt x="47339" y="1089748"/>
                </a:lnTo>
                <a:lnTo>
                  <a:pt x="61406" y="1133792"/>
                </a:lnTo>
                <a:lnTo>
                  <a:pt x="77180" y="1177045"/>
                </a:lnTo>
                <a:lnTo>
                  <a:pt x="94621" y="1219467"/>
                </a:lnTo>
                <a:lnTo>
                  <a:pt x="113689" y="1261017"/>
                </a:lnTo>
                <a:lnTo>
                  <a:pt x="134344" y="1301657"/>
                </a:lnTo>
                <a:lnTo>
                  <a:pt x="156547" y="1341346"/>
                </a:lnTo>
                <a:lnTo>
                  <a:pt x="180257" y="1380045"/>
                </a:lnTo>
                <a:lnTo>
                  <a:pt x="205436" y="1417714"/>
                </a:lnTo>
                <a:lnTo>
                  <a:pt x="232042" y="1454312"/>
                </a:lnTo>
                <a:lnTo>
                  <a:pt x="260037" y="1489801"/>
                </a:lnTo>
                <a:lnTo>
                  <a:pt x="289380" y="1524141"/>
                </a:lnTo>
                <a:lnTo>
                  <a:pt x="320032" y="1557291"/>
                </a:lnTo>
                <a:lnTo>
                  <a:pt x="351953" y="1589212"/>
                </a:lnTo>
                <a:lnTo>
                  <a:pt x="385103" y="1619864"/>
                </a:lnTo>
                <a:lnTo>
                  <a:pt x="419443" y="1649207"/>
                </a:lnTo>
                <a:lnTo>
                  <a:pt x="454932" y="1677202"/>
                </a:lnTo>
                <a:lnTo>
                  <a:pt x="491531" y="1703809"/>
                </a:lnTo>
                <a:lnTo>
                  <a:pt x="529199" y="1728987"/>
                </a:lnTo>
                <a:lnTo>
                  <a:pt x="567898" y="1752698"/>
                </a:lnTo>
                <a:lnTo>
                  <a:pt x="607588" y="1774900"/>
                </a:lnTo>
                <a:lnTo>
                  <a:pt x="648227" y="1795556"/>
                </a:lnTo>
                <a:lnTo>
                  <a:pt x="689778" y="1814623"/>
                </a:lnTo>
                <a:lnTo>
                  <a:pt x="732199" y="1832064"/>
                </a:lnTo>
                <a:lnTo>
                  <a:pt x="775452" y="1847838"/>
                </a:lnTo>
                <a:lnTo>
                  <a:pt x="819496" y="1861905"/>
                </a:lnTo>
                <a:lnTo>
                  <a:pt x="864291" y="1874226"/>
                </a:lnTo>
                <a:lnTo>
                  <a:pt x="909799" y="1884760"/>
                </a:lnTo>
                <a:lnTo>
                  <a:pt x="955978" y="1893469"/>
                </a:lnTo>
                <a:lnTo>
                  <a:pt x="1002790" y="1900311"/>
                </a:lnTo>
                <a:lnTo>
                  <a:pt x="1050193" y="1905248"/>
                </a:lnTo>
                <a:lnTo>
                  <a:pt x="1098150" y="1908239"/>
                </a:lnTo>
                <a:lnTo>
                  <a:pt x="1146619" y="1909245"/>
                </a:lnTo>
                <a:lnTo>
                  <a:pt x="1195088" y="1908239"/>
                </a:lnTo>
                <a:lnTo>
                  <a:pt x="1243045" y="1905248"/>
                </a:lnTo>
                <a:lnTo>
                  <a:pt x="1290448" y="1900311"/>
                </a:lnTo>
                <a:lnTo>
                  <a:pt x="1337260" y="1893469"/>
                </a:lnTo>
                <a:lnTo>
                  <a:pt x="1383439" y="1884760"/>
                </a:lnTo>
                <a:lnTo>
                  <a:pt x="1428947" y="1874226"/>
                </a:lnTo>
                <a:lnTo>
                  <a:pt x="1473742" y="1861905"/>
                </a:lnTo>
                <a:lnTo>
                  <a:pt x="1517786" y="1847838"/>
                </a:lnTo>
                <a:lnTo>
                  <a:pt x="1561039" y="1832064"/>
                </a:lnTo>
                <a:lnTo>
                  <a:pt x="1603460" y="1814623"/>
                </a:lnTo>
                <a:lnTo>
                  <a:pt x="1645011" y="1795556"/>
                </a:lnTo>
                <a:lnTo>
                  <a:pt x="1685650" y="1774900"/>
                </a:lnTo>
                <a:lnTo>
                  <a:pt x="1725340" y="1752698"/>
                </a:lnTo>
                <a:lnTo>
                  <a:pt x="1764039" y="1728987"/>
                </a:lnTo>
                <a:lnTo>
                  <a:pt x="1801707" y="1703809"/>
                </a:lnTo>
                <a:lnTo>
                  <a:pt x="1838306" y="1677202"/>
                </a:lnTo>
                <a:lnTo>
                  <a:pt x="1873795" y="1649207"/>
                </a:lnTo>
                <a:lnTo>
                  <a:pt x="1908135" y="1619864"/>
                </a:lnTo>
                <a:lnTo>
                  <a:pt x="1941285" y="1589212"/>
                </a:lnTo>
                <a:lnTo>
                  <a:pt x="1969200" y="1561297"/>
                </a:lnTo>
                <a:lnTo>
                  <a:pt x="1969200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id="{070B18B0-0A28-9977-5483-AE34A87FCE5C}"/>
              </a:ext>
            </a:extLst>
          </p:cNvPr>
          <p:cNvSpPr/>
          <p:nvPr/>
        </p:nvSpPr>
        <p:spPr>
          <a:xfrm>
            <a:off x="4070293" y="0"/>
            <a:ext cx="2079857" cy="1720546"/>
          </a:xfrm>
          <a:custGeom>
            <a:avLst/>
            <a:gdLst/>
            <a:ahLst/>
            <a:cxnLst/>
            <a:rect l="l" t="t" r="r" b="b"/>
            <a:pathLst>
              <a:path w="2293620" h="1897380">
                <a:moveTo>
                  <a:pt x="2013162" y="0"/>
                </a:moveTo>
                <a:lnTo>
                  <a:pt x="280076" y="0"/>
                </a:lnTo>
                <a:lnTo>
                  <a:pt x="260037" y="23451"/>
                </a:lnTo>
                <a:lnTo>
                  <a:pt x="232042" y="58940"/>
                </a:lnTo>
                <a:lnTo>
                  <a:pt x="205436" y="95539"/>
                </a:lnTo>
                <a:lnTo>
                  <a:pt x="180257" y="133207"/>
                </a:lnTo>
                <a:lnTo>
                  <a:pt x="156547" y="171906"/>
                </a:lnTo>
                <a:lnTo>
                  <a:pt x="134344" y="211595"/>
                </a:lnTo>
                <a:lnTo>
                  <a:pt x="113689" y="252235"/>
                </a:lnTo>
                <a:lnTo>
                  <a:pt x="94621" y="293786"/>
                </a:lnTo>
                <a:lnTo>
                  <a:pt x="77180" y="336207"/>
                </a:lnTo>
                <a:lnTo>
                  <a:pt x="61406" y="379460"/>
                </a:lnTo>
                <a:lnTo>
                  <a:pt x="47339" y="423504"/>
                </a:lnTo>
                <a:lnTo>
                  <a:pt x="35018" y="468299"/>
                </a:lnTo>
                <a:lnTo>
                  <a:pt x="24484" y="513807"/>
                </a:lnTo>
                <a:lnTo>
                  <a:pt x="15776" y="559986"/>
                </a:lnTo>
                <a:lnTo>
                  <a:pt x="8933" y="606797"/>
                </a:lnTo>
                <a:lnTo>
                  <a:pt x="3997" y="654201"/>
                </a:lnTo>
                <a:lnTo>
                  <a:pt x="1005" y="702158"/>
                </a:lnTo>
                <a:lnTo>
                  <a:pt x="0" y="750627"/>
                </a:lnTo>
                <a:lnTo>
                  <a:pt x="1005" y="799096"/>
                </a:lnTo>
                <a:lnTo>
                  <a:pt x="3997" y="847052"/>
                </a:lnTo>
                <a:lnTo>
                  <a:pt x="8933" y="894456"/>
                </a:lnTo>
                <a:lnTo>
                  <a:pt x="15776" y="941268"/>
                </a:lnTo>
                <a:lnTo>
                  <a:pt x="24484" y="987447"/>
                </a:lnTo>
                <a:lnTo>
                  <a:pt x="35018" y="1032954"/>
                </a:lnTo>
                <a:lnTo>
                  <a:pt x="47339" y="1077750"/>
                </a:lnTo>
                <a:lnTo>
                  <a:pt x="61406" y="1121794"/>
                </a:lnTo>
                <a:lnTo>
                  <a:pt x="77180" y="1165047"/>
                </a:lnTo>
                <a:lnTo>
                  <a:pt x="94621" y="1207468"/>
                </a:lnTo>
                <a:lnTo>
                  <a:pt x="113689" y="1249019"/>
                </a:lnTo>
                <a:lnTo>
                  <a:pt x="134344" y="1289658"/>
                </a:lnTo>
                <a:lnTo>
                  <a:pt x="156547" y="1329348"/>
                </a:lnTo>
                <a:lnTo>
                  <a:pt x="180257" y="1368046"/>
                </a:lnTo>
                <a:lnTo>
                  <a:pt x="205436" y="1405715"/>
                </a:lnTo>
                <a:lnTo>
                  <a:pt x="232042" y="1442314"/>
                </a:lnTo>
                <a:lnTo>
                  <a:pt x="260037" y="1477803"/>
                </a:lnTo>
                <a:lnTo>
                  <a:pt x="289380" y="1512142"/>
                </a:lnTo>
                <a:lnTo>
                  <a:pt x="320032" y="1545293"/>
                </a:lnTo>
                <a:lnTo>
                  <a:pt x="351953" y="1577214"/>
                </a:lnTo>
                <a:lnTo>
                  <a:pt x="385103" y="1607866"/>
                </a:lnTo>
                <a:lnTo>
                  <a:pt x="419443" y="1637209"/>
                </a:lnTo>
                <a:lnTo>
                  <a:pt x="454932" y="1665204"/>
                </a:lnTo>
                <a:lnTo>
                  <a:pt x="491531" y="1691810"/>
                </a:lnTo>
                <a:lnTo>
                  <a:pt x="529199" y="1716989"/>
                </a:lnTo>
                <a:lnTo>
                  <a:pt x="567898" y="1740699"/>
                </a:lnTo>
                <a:lnTo>
                  <a:pt x="607588" y="1762902"/>
                </a:lnTo>
                <a:lnTo>
                  <a:pt x="648227" y="1783557"/>
                </a:lnTo>
                <a:lnTo>
                  <a:pt x="689778" y="1802625"/>
                </a:lnTo>
                <a:lnTo>
                  <a:pt x="732199" y="1820066"/>
                </a:lnTo>
                <a:lnTo>
                  <a:pt x="775452" y="1835840"/>
                </a:lnTo>
                <a:lnTo>
                  <a:pt x="819496" y="1849907"/>
                </a:lnTo>
                <a:lnTo>
                  <a:pt x="864291" y="1862228"/>
                </a:lnTo>
                <a:lnTo>
                  <a:pt x="909799" y="1872762"/>
                </a:lnTo>
                <a:lnTo>
                  <a:pt x="955978" y="1881470"/>
                </a:lnTo>
                <a:lnTo>
                  <a:pt x="1002790" y="1888313"/>
                </a:lnTo>
                <a:lnTo>
                  <a:pt x="1050193" y="1893249"/>
                </a:lnTo>
                <a:lnTo>
                  <a:pt x="1098150" y="1896240"/>
                </a:lnTo>
                <a:lnTo>
                  <a:pt x="1146619" y="1897246"/>
                </a:lnTo>
                <a:lnTo>
                  <a:pt x="1195088" y="1896240"/>
                </a:lnTo>
                <a:lnTo>
                  <a:pt x="1243045" y="1893249"/>
                </a:lnTo>
                <a:lnTo>
                  <a:pt x="1290448" y="1888313"/>
                </a:lnTo>
                <a:lnTo>
                  <a:pt x="1337260" y="1881470"/>
                </a:lnTo>
                <a:lnTo>
                  <a:pt x="1383439" y="1872762"/>
                </a:lnTo>
                <a:lnTo>
                  <a:pt x="1428947" y="1862228"/>
                </a:lnTo>
                <a:lnTo>
                  <a:pt x="1473742" y="1849907"/>
                </a:lnTo>
                <a:lnTo>
                  <a:pt x="1517786" y="1835840"/>
                </a:lnTo>
                <a:lnTo>
                  <a:pt x="1561039" y="1820066"/>
                </a:lnTo>
                <a:lnTo>
                  <a:pt x="1603460" y="1802625"/>
                </a:lnTo>
                <a:lnTo>
                  <a:pt x="1645011" y="1783557"/>
                </a:lnTo>
                <a:lnTo>
                  <a:pt x="1685650" y="1762902"/>
                </a:lnTo>
                <a:lnTo>
                  <a:pt x="1725340" y="1740699"/>
                </a:lnTo>
                <a:lnTo>
                  <a:pt x="1764039" y="1716989"/>
                </a:lnTo>
                <a:lnTo>
                  <a:pt x="1801707" y="1691810"/>
                </a:lnTo>
                <a:lnTo>
                  <a:pt x="1838306" y="1665204"/>
                </a:lnTo>
                <a:lnTo>
                  <a:pt x="1873795" y="1637209"/>
                </a:lnTo>
                <a:lnTo>
                  <a:pt x="1908135" y="1607866"/>
                </a:lnTo>
                <a:lnTo>
                  <a:pt x="1941285" y="1577214"/>
                </a:lnTo>
                <a:lnTo>
                  <a:pt x="1973206" y="1545293"/>
                </a:lnTo>
                <a:lnTo>
                  <a:pt x="2003858" y="1512142"/>
                </a:lnTo>
                <a:lnTo>
                  <a:pt x="2033201" y="1477803"/>
                </a:lnTo>
                <a:lnTo>
                  <a:pt x="2061196" y="1442314"/>
                </a:lnTo>
                <a:lnTo>
                  <a:pt x="2087802" y="1405715"/>
                </a:lnTo>
                <a:lnTo>
                  <a:pt x="2112981" y="1368046"/>
                </a:lnTo>
                <a:lnTo>
                  <a:pt x="2136691" y="1329348"/>
                </a:lnTo>
                <a:lnTo>
                  <a:pt x="2158894" y="1289658"/>
                </a:lnTo>
                <a:lnTo>
                  <a:pt x="2179549" y="1249019"/>
                </a:lnTo>
                <a:lnTo>
                  <a:pt x="2198617" y="1207468"/>
                </a:lnTo>
                <a:lnTo>
                  <a:pt x="2216058" y="1165047"/>
                </a:lnTo>
                <a:lnTo>
                  <a:pt x="2231832" y="1121794"/>
                </a:lnTo>
                <a:lnTo>
                  <a:pt x="2245899" y="1077750"/>
                </a:lnTo>
                <a:lnTo>
                  <a:pt x="2258220" y="1032954"/>
                </a:lnTo>
                <a:lnTo>
                  <a:pt x="2268754" y="987447"/>
                </a:lnTo>
                <a:lnTo>
                  <a:pt x="2277462" y="941268"/>
                </a:lnTo>
                <a:lnTo>
                  <a:pt x="2284305" y="894456"/>
                </a:lnTo>
                <a:lnTo>
                  <a:pt x="2289241" y="847052"/>
                </a:lnTo>
                <a:lnTo>
                  <a:pt x="2292233" y="799096"/>
                </a:lnTo>
                <a:lnTo>
                  <a:pt x="2293239" y="750627"/>
                </a:lnTo>
                <a:lnTo>
                  <a:pt x="2292233" y="702158"/>
                </a:lnTo>
                <a:lnTo>
                  <a:pt x="2289241" y="654201"/>
                </a:lnTo>
                <a:lnTo>
                  <a:pt x="2284305" y="606797"/>
                </a:lnTo>
                <a:lnTo>
                  <a:pt x="2277462" y="559986"/>
                </a:lnTo>
                <a:lnTo>
                  <a:pt x="2268754" y="513807"/>
                </a:lnTo>
                <a:lnTo>
                  <a:pt x="2258220" y="468299"/>
                </a:lnTo>
                <a:lnTo>
                  <a:pt x="2245899" y="423504"/>
                </a:lnTo>
                <a:lnTo>
                  <a:pt x="2231832" y="379460"/>
                </a:lnTo>
                <a:lnTo>
                  <a:pt x="2216058" y="336207"/>
                </a:lnTo>
                <a:lnTo>
                  <a:pt x="2198617" y="293786"/>
                </a:lnTo>
                <a:lnTo>
                  <a:pt x="2179549" y="252235"/>
                </a:lnTo>
                <a:lnTo>
                  <a:pt x="2158894" y="211595"/>
                </a:lnTo>
                <a:lnTo>
                  <a:pt x="2136691" y="171906"/>
                </a:lnTo>
                <a:lnTo>
                  <a:pt x="2112981" y="133207"/>
                </a:lnTo>
                <a:lnTo>
                  <a:pt x="2087802" y="95539"/>
                </a:lnTo>
                <a:lnTo>
                  <a:pt x="2061196" y="58940"/>
                </a:lnTo>
                <a:lnTo>
                  <a:pt x="2033201" y="23451"/>
                </a:lnTo>
                <a:lnTo>
                  <a:pt x="201316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FEF9B5F4-F996-526E-724D-8B9EB62F9A2B}"/>
              </a:ext>
            </a:extLst>
          </p:cNvPr>
          <p:cNvSpPr/>
          <p:nvPr/>
        </p:nvSpPr>
        <p:spPr>
          <a:xfrm>
            <a:off x="10321566" y="3966353"/>
            <a:ext cx="1580045" cy="1580045"/>
          </a:xfrm>
          <a:custGeom>
            <a:avLst/>
            <a:gdLst/>
            <a:ahLst/>
            <a:cxnLst/>
            <a:rect l="l" t="t" r="r" b="b"/>
            <a:pathLst>
              <a:path w="1742440" h="1742439">
                <a:moveTo>
                  <a:pt x="871016" y="0"/>
                </a:moveTo>
                <a:lnTo>
                  <a:pt x="823226" y="1288"/>
                </a:lnTo>
                <a:lnTo>
                  <a:pt x="776109" y="5110"/>
                </a:lnTo>
                <a:lnTo>
                  <a:pt x="729733" y="11400"/>
                </a:lnTo>
                <a:lnTo>
                  <a:pt x="684162" y="20089"/>
                </a:lnTo>
                <a:lnTo>
                  <a:pt x="639465" y="31113"/>
                </a:lnTo>
                <a:lnTo>
                  <a:pt x="595707" y="44404"/>
                </a:lnTo>
                <a:lnTo>
                  <a:pt x="552955" y="59897"/>
                </a:lnTo>
                <a:lnTo>
                  <a:pt x="511275" y="77525"/>
                </a:lnTo>
                <a:lnTo>
                  <a:pt x="470733" y="97221"/>
                </a:lnTo>
                <a:lnTo>
                  <a:pt x="431397" y="118919"/>
                </a:lnTo>
                <a:lnTo>
                  <a:pt x="393332" y="142552"/>
                </a:lnTo>
                <a:lnTo>
                  <a:pt x="356605" y="168055"/>
                </a:lnTo>
                <a:lnTo>
                  <a:pt x="321282" y="195360"/>
                </a:lnTo>
                <a:lnTo>
                  <a:pt x="287429" y="224402"/>
                </a:lnTo>
                <a:lnTo>
                  <a:pt x="255114" y="255114"/>
                </a:lnTo>
                <a:lnTo>
                  <a:pt x="224402" y="287429"/>
                </a:lnTo>
                <a:lnTo>
                  <a:pt x="195360" y="321282"/>
                </a:lnTo>
                <a:lnTo>
                  <a:pt x="168055" y="356605"/>
                </a:lnTo>
                <a:lnTo>
                  <a:pt x="142552" y="393332"/>
                </a:lnTo>
                <a:lnTo>
                  <a:pt x="118919" y="431397"/>
                </a:lnTo>
                <a:lnTo>
                  <a:pt x="97221" y="470733"/>
                </a:lnTo>
                <a:lnTo>
                  <a:pt x="77525" y="511275"/>
                </a:lnTo>
                <a:lnTo>
                  <a:pt x="59897" y="552955"/>
                </a:lnTo>
                <a:lnTo>
                  <a:pt x="44404" y="595707"/>
                </a:lnTo>
                <a:lnTo>
                  <a:pt x="31113" y="639465"/>
                </a:lnTo>
                <a:lnTo>
                  <a:pt x="20089" y="684162"/>
                </a:lnTo>
                <a:lnTo>
                  <a:pt x="11400" y="729733"/>
                </a:lnTo>
                <a:lnTo>
                  <a:pt x="5110" y="776109"/>
                </a:lnTo>
                <a:lnTo>
                  <a:pt x="1288" y="823226"/>
                </a:lnTo>
                <a:lnTo>
                  <a:pt x="0" y="871016"/>
                </a:lnTo>
                <a:lnTo>
                  <a:pt x="1288" y="918807"/>
                </a:lnTo>
                <a:lnTo>
                  <a:pt x="5110" y="965923"/>
                </a:lnTo>
                <a:lnTo>
                  <a:pt x="11400" y="1012300"/>
                </a:lnTo>
                <a:lnTo>
                  <a:pt x="20089" y="1057870"/>
                </a:lnTo>
                <a:lnTo>
                  <a:pt x="31113" y="1102568"/>
                </a:lnTo>
                <a:lnTo>
                  <a:pt x="44404" y="1146325"/>
                </a:lnTo>
                <a:lnTo>
                  <a:pt x="59897" y="1189078"/>
                </a:lnTo>
                <a:lnTo>
                  <a:pt x="77525" y="1230758"/>
                </a:lnTo>
                <a:lnTo>
                  <a:pt x="97221" y="1271299"/>
                </a:lnTo>
                <a:lnTo>
                  <a:pt x="118919" y="1310636"/>
                </a:lnTo>
                <a:lnTo>
                  <a:pt x="142552" y="1348701"/>
                </a:lnTo>
                <a:lnTo>
                  <a:pt x="168055" y="1385428"/>
                </a:lnTo>
                <a:lnTo>
                  <a:pt x="195360" y="1420751"/>
                </a:lnTo>
                <a:lnTo>
                  <a:pt x="224402" y="1454603"/>
                </a:lnTo>
                <a:lnTo>
                  <a:pt x="255114" y="1486919"/>
                </a:lnTo>
                <a:lnTo>
                  <a:pt x="287429" y="1517630"/>
                </a:lnTo>
                <a:lnTo>
                  <a:pt x="321282" y="1546672"/>
                </a:lnTo>
                <a:lnTo>
                  <a:pt x="356605" y="1573978"/>
                </a:lnTo>
                <a:lnTo>
                  <a:pt x="393332" y="1599480"/>
                </a:lnTo>
                <a:lnTo>
                  <a:pt x="431397" y="1623114"/>
                </a:lnTo>
                <a:lnTo>
                  <a:pt x="470733" y="1644812"/>
                </a:lnTo>
                <a:lnTo>
                  <a:pt x="511275" y="1664508"/>
                </a:lnTo>
                <a:lnTo>
                  <a:pt x="552955" y="1682136"/>
                </a:lnTo>
                <a:lnTo>
                  <a:pt x="595707" y="1697628"/>
                </a:lnTo>
                <a:lnTo>
                  <a:pt x="639465" y="1710920"/>
                </a:lnTo>
                <a:lnTo>
                  <a:pt x="684162" y="1721943"/>
                </a:lnTo>
                <a:lnTo>
                  <a:pt x="729733" y="1730633"/>
                </a:lnTo>
                <a:lnTo>
                  <a:pt x="776109" y="1736922"/>
                </a:lnTo>
                <a:lnTo>
                  <a:pt x="823226" y="1740744"/>
                </a:lnTo>
                <a:lnTo>
                  <a:pt x="871016" y="1742033"/>
                </a:lnTo>
                <a:lnTo>
                  <a:pt x="918807" y="1740744"/>
                </a:lnTo>
                <a:lnTo>
                  <a:pt x="965923" y="1736922"/>
                </a:lnTo>
                <a:lnTo>
                  <a:pt x="1012300" y="1730633"/>
                </a:lnTo>
                <a:lnTo>
                  <a:pt x="1057870" y="1721943"/>
                </a:lnTo>
                <a:lnTo>
                  <a:pt x="1102568" y="1710920"/>
                </a:lnTo>
                <a:lnTo>
                  <a:pt x="1146325" y="1697628"/>
                </a:lnTo>
                <a:lnTo>
                  <a:pt x="1189078" y="1682136"/>
                </a:lnTo>
                <a:lnTo>
                  <a:pt x="1230758" y="1664508"/>
                </a:lnTo>
                <a:lnTo>
                  <a:pt x="1271299" y="1644812"/>
                </a:lnTo>
                <a:lnTo>
                  <a:pt x="1310636" y="1623114"/>
                </a:lnTo>
                <a:lnTo>
                  <a:pt x="1348701" y="1599480"/>
                </a:lnTo>
                <a:lnTo>
                  <a:pt x="1385428" y="1573978"/>
                </a:lnTo>
                <a:lnTo>
                  <a:pt x="1420751" y="1546672"/>
                </a:lnTo>
                <a:lnTo>
                  <a:pt x="1454603" y="1517630"/>
                </a:lnTo>
                <a:lnTo>
                  <a:pt x="1486919" y="1486919"/>
                </a:lnTo>
                <a:lnTo>
                  <a:pt x="1517630" y="1454603"/>
                </a:lnTo>
                <a:lnTo>
                  <a:pt x="1546672" y="1420751"/>
                </a:lnTo>
                <a:lnTo>
                  <a:pt x="1573978" y="1385428"/>
                </a:lnTo>
                <a:lnTo>
                  <a:pt x="1599480" y="1348701"/>
                </a:lnTo>
                <a:lnTo>
                  <a:pt x="1623114" y="1310636"/>
                </a:lnTo>
                <a:lnTo>
                  <a:pt x="1644812" y="1271299"/>
                </a:lnTo>
                <a:lnTo>
                  <a:pt x="1664508" y="1230758"/>
                </a:lnTo>
                <a:lnTo>
                  <a:pt x="1682136" y="1189078"/>
                </a:lnTo>
                <a:lnTo>
                  <a:pt x="1697628" y="1146325"/>
                </a:lnTo>
                <a:lnTo>
                  <a:pt x="1710920" y="1102568"/>
                </a:lnTo>
                <a:lnTo>
                  <a:pt x="1721943" y="1057870"/>
                </a:lnTo>
                <a:lnTo>
                  <a:pt x="1730633" y="1012300"/>
                </a:lnTo>
                <a:lnTo>
                  <a:pt x="1736922" y="965923"/>
                </a:lnTo>
                <a:lnTo>
                  <a:pt x="1740744" y="918807"/>
                </a:lnTo>
                <a:lnTo>
                  <a:pt x="1742033" y="871016"/>
                </a:lnTo>
                <a:lnTo>
                  <a:pt x="1740744" y="823226"/>
                </a:lnTo>
                <a:lnTo>
                  <a:pt x="1736922" y="776109"/>
                </a:lnTo>
                <a:lnTo>
                  <a:pt x="1730633" y="729733"/>
                </a:lnTo>
                <a:lnTo>
                  <a:pt x="1721943" y="684162"/>
                </a:lnTo>
                <a:lnTo>
                  <a:pt x="1710920" y="639465"/>
                </a:lnTo>
                <a:lnTo>
                  <a:pt x="1697628" y="595707"/>
                </a:lnTo>
                <a:lnTo>
                  <a:pt x="1682136" y="552955"/>
                </a:lnTo>
                <a:lnTo>
                  <a:pt x="1664508" y="511275"/>
                </a:lnTo>
                <a:lnTo>
                  <a:pt x="1644812" y="470733"/>
                </a:lnTo>
                <a:lnTo>
                  <a:pt x="1623114" y="431397"/>
                </a:lnTo>
                <a:lnTo>
                  <a:pt x="1599480" y="393332"/>
                </a:lnTo>
                <a:lnTo>
                  <a:pt x="1573978" y="356605"/>
                </a:lnTo>
                <a:lnTo>
                  <a:pt x="1546672" y="321282"/>
                </a:lnTo>
                <a:lnTo>
                  <a:pt x="1517630" y="287429"/>
                </a:lnTo>
                <a:lnTo>
                  <a:pt x="1486919" y="255114"/>
                </a:lnTo>
                <a:lnTo>
                  <a:pt x="1454603" y="224402"/>
                </a:lnTo>
                <a:lnTo>
                  <a:pt x="1420751" y="195360"/>
                </a:lnTo>
                <a:lnTo>
                  <a:pt x="1385428" y="168055"/>
                </a:lnTo>
                <a:lnTo>
                  <a:pt x="1348701" y="142552"/>
                </a:lnTo>
                <a:lnTo>
                  <a:pt x="1310636" y="118919"/>
                </a:lnTo>
                <a:lnTo>
                  <a:pt x="1271299" y="97221"/>
                </a:lnTo>
                <a:lnTo>
                  <a:pt x="1230758" y="77525"/>
                </a:lnTo>
                <a:lnTo>
                  <a:pt x="1189078" y="59897"/>
                </a:lnTo>
                <a:lnTo>
                  <a:pt x="1146325" y="44404"/>
                </a:lnTo>
                <a:lnTo>
                  <a:pt x="1102568" y="31113"/>
                </a:lnTo>
                <a:lnTo>
                  <a:pt x="1057870" y="20089"/>
                </a:lnTo>
                <a:lnTo>
                  <a:pt x="1012300" y="11400"/>
                </a:lnTo>
                <a:lnTo>
                  <a:pt x="965923" y="5110"/>
                </a:lnTo>
                <a:lnTo>
                  <a:pt x="918807" y="1288"/>
                </a:lnTo>
                <a:lnTo>
                  <a:pt x="871016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3">
            <a:extLst>
              <a:ext uri="{FF2B5EF4-FFF2-40B4-BE49-F238E27FC236}">
                <a16:creationId xmlns:a16="http://schemas.microsoft.com/office/drawing/2014/main" id="{2E23C361-F404-8DEA-3669-F09536585986}"/>
              </a:ext>
            </a:extLst>
          </p:cNvPr>
          <p:cNvSpPr/>
          <p:nvPr/>
        </p:nvSpPr>
        <p:spPr>
          <a:xfrm>
            <a:off x="7835316" y="4563116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70" h="801370">
                <a:moveTo>
                  <a:pt x="400672" y="0"/>
                </a:moveTo>
                <a:lnTo>
                  <a:pt x="353945" y="2695"/>
                </a:lnTo>
                <a:lnTo>
                  <a:pt x="308801" y="10581"/>
                </a:lnTo>
                <a:lnTo>
                  <a:pt x="265542" y="23357"/>
                </a:lnTo>
                <a:lnTo>
                  <a:pt x="224466" y="40722"/>
                </a:lnTo>
                <a:lnTo>
                  <a:pt x="185876" y="62376"/>
                </a:lnTo>
                <a:lnTo>
                  <a:pt x="150072" y="88018"/>
                </a:lnTo>
                <a:lnTo>
                  <a:pt x="117354" y="117348"/>
                </a:lnTo>
                <a:lnTo>
                  <a:pt x="88023" y="150064"/>
                </a:lnTo>
                <a:lnTo>
                  <a:pt x="62379" y="185867"/>
                </a:lnTo>
                <a:lnTo>
                  <a:pt x="40724" y="224456"/>
                </a:lnTo>
                <a:lnTo>
                  <a:pt x="23358" y="265531"/>
                </a:lnTo>
                <a:lnTo>
                  <a:pt x="10582" y="308789"/>
                </a:lnTo>
                <a:lnTo>
                  <a:pt x="2695" y="353933"/>
                </a:lnTo>
                <a:lnTo>
                  <a:pt x="0" y="400659"/>
                </a:lnTo>
                <a:lnTo>
                  <a:pt x="2695" y="447386"/>
                </a:lnTo>
                <a:lnTo>
                  <a:pt x="10582" y="492529"/>
                </a:lnTo>
                <a:lnTo>
                  <a:pt x="23358" y="535789"/>
                </a:lnTo>
                <a:lnTo>
                  <a:pt x="40724" y="576864"/>
                </a:lnTo>
                <a:lnTo>
                  <a:pt x="62379" y="615455"/>
                </a:lnTo>
                <a:lnTo>
                  <a:pt x="88023" y="651259"/>
                </a:lnTo>
                <a:lnTo>
                  <a:pt x="117354" y="683977"/>
                </a:lnTo>
                <a:lnTo>
                  <a:pt x="150072" y="713308"/>
                </a:lnTo>
                <a:lnTo>
                  <a:pt x="185876" y="738951"/>
                </a:lnTo>
                <a:lnTo>
                  <a:pt x="224466" y="760607"/>
                </a:lnTo>
                <a:lnTo>
                  <a:pt x="265542" y="777973"/>
                </a:lnTo>
                <a:lnTo>
                  <a:pt x="308801" y="790749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49"/>
                </a:lnTo>
                <a:lnTo>
                  <a:pt x="535802" y="777973"/>
                </a:lnTo>
                <a:lnTo>
                  <a:pt x="576877" y="760607"/>
                </a:lnTo>
                <a:lnTo>
                  <a:pt x="615467" y="738951"/>
                </a:lnTo>
                <a:lnTo>
                  <a:pt x="651272" y="713308"/>
                </a:lnTo>
                <a:lnTo>
                  <a:pt x="683990" y="683977"/>
                </a:lnTo>
                <a:lnTo>
                  <a:pt x="713321" y="651259"/>
                </a:lnTo>
                <a:lnTo>
                  <a:pt x="738964" y="615455"/>
                </a:lnTo>
                <a:lnTo>
                  <a:pt x="760619" y="576864"/>
                </a:lnTo>
                <a:lnTo>
                  <a:pt x="777985" y="535789"/>
                </a:lnTo>
                <a:lnTo>
                  <a:pt x="790762" y="492529"/>
                </a:lnTo>
                <a:lnTo>
                  <a:pt x="798648" y="447386"/>
                </a:lnTo>
                <a:lnTo>
                  <a:pt x="801344" y="400659"/>
                </a:lnTo>
                <a:lnTo>
                  <a:pt x="798648" y="353933"/>
                </a:lnTo>
                <a:lnTo>
                  <a:pt x="790762" y="308789"/>
                </a:lnTo>
                <a:lnTo>
                  <a:pt x="777985" y="265531"/>
                </a:lnTo>
                <a:lnTo>
                  <a:pt x="760619" y="224456"/>
                </a:lnTo>
                <a:lnTo>
                  <a:pt x="738964" y="185867"/>
                </a:lnTo>
                <a:lnTo>
                  <a:pt x="713321" y="150064"/>
                </a:lnTo>
                <a:lnTo>
                  <a:pt x="683990" y="117348"/>
                </a:lnTo>
                <a:lnTo>
                  <a:pt x="651272" y="88018"/>
                </a:lnTo>
                <a:lnTo>
                  <a:pt x="615467" y="62376"/>
                </a:lnTo>
                <a:lnTo>
                  <a:pt x="576877" y="40722"/>
                </a:lnTo>
                <a:lnTo>
                  <a:pt x="535802" y="23357"/>
                </a:lnTo>
                <a:lnTo>
                  <a:pt x="492542" y="10581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4">
            <a:extLst>
              <a:ext uri="{FF2B5EF4-FFF2-40B4-BE49-F238E27FC236}">
                <a16:creationId xmlns:a16="http://schemas.microsoft.com/office/drawing/2014/main" id="{8F872847-C3B1-760C-F4AC-93DE0329412F}"/>
              </a:ext>
            </a:extLst>
          </p:cNvPr>
          <p:cNvSpPr/>
          <p:nvPr/>
        </p:nvSpPr>
        <p:spPr>
          <a:xfrm>
            <a:off x="1216272" y="5587712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53AA02F4-3E33-4C39-33D6-76AA82402885}"/>
              </a:ext>
            </a:extLst>
          </p:cNvPr>
          <p:cNvSpPr/>
          <p:nvPr/>
        </p:nvSpPr>
        <p:spPr>
          <a:xfrm>
            <a:off x="1412140" y="6469124"/>
            <a:ext cx="726683" cy="386373"/>
          </a:xfrm>
          <a:custGeom>
            <a:avLst/>
            <a:gdLst/>
            <a:ahLst/>
            <a:cxnLst/>
            <a:rect l="l" t="t" r="r" b="b"/>
            <a:pathLst>
              <a:path w="801369" h="426084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1461" y="425998"/>
                </a:lnTo>
                <a:lnTo>
                  <a:pt x="799883" y="4259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6424BFED-D43D-B183-B5D0-83BFB42B63F4}"/>
              </a:ext>
            </a:extLst>
          </p:cNvPr>
          <p:cNvSpPr/>
          <p:nvPr/>
        </p:nvSpPr>
        <p:spPr>
          <a:xfrm>
            <a:off x="6266493" y="1757951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323976F1-F0C5-8B3E-79EC-251D18A92F44}"/>
              </a:ext>
            </a:extLst>
          </p:cNvPr>
          <p:cNvSpPr/>
          <p:nvPr/>
        </p:nvSpPr>
        <p:spPr>
          <a:xfrm>
            <a:off x="5464115" y="1757951"/>
            <a:ext cx="461393" cy="46139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85B9E685-8F26-653C-637B-4560BD554CAC}"/>
              </a:ext>
            </a:extLst>
          </p:cNvPr>
          <p:cNvSpPr/>
          <p:nvPr/>
        </p:nvSpPr>
        <p:spPr>
          <a:xfrm>
            <a:off x="11179577" y="5951053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DD70F8A-7EFD-5D5B-1E28-80954C36380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-675252" y="3608859"/>
            <a:ext cx="2541584" cy="250746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716E89-11E9-0EE9-B918-701C3474FC65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97941" y="157862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E0D997F-9BA9-D907-D51C-98EE5253644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165783" y="337721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6699D40-1F2D-3294-96EC-2A152766E695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2610263" y="2722475"/>
            <a:ext cx="4695781" cy="463273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9" name="object 41">
            <a:extLst>
              <a:ext uri="{FF2B5EF4-FFF2-40B4-BE49-F238E27FC236}">
                <a16:creationId xmlns:a16="http://schemas.microsoft.com/office/drawing/2014/main" id="{FA982876-2921-D24C-0CDB-772EAD3153DE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10" name="object 42">
              <a:extLst>
                <a:ext uri="{FF2B5EF4-FFF2-40B4-BE49-F238E27FC236}">
                  <a16:creationId xmlns:a16="http://schemas.microsoft.com/office/drawing/2014/main" id="{71174394-20A3-D999-6AC1-8AAB94939D83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11" name="object 43">
              <a:extLst>
                <a:ext uri="{FF2B5EF4-FFF2-40B4-BE49-F238E27FC236}">
                  <a16:creationId xmlns:a16="http://schemas.microsoft.com/office/drawing/2014/main" id="{717B577C-DC63-2D25-AC22-60DDC765591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2" name="object 44">
              <a:extLst>
                <a:ext uri="{FF2B5EF4-FFF2-40B4-BE49-F238E27FC236}">
                  <a16:creationId xmlns:a16="http://schemas.microsoft.com/office/drawing/2014/main" id="{CF028290-D0E1-06A2-2226-2A89E7C23F2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4" name="object 7">
            <a:extLst>
              <a:ext uri="{FF2B5EF4-FFF2-40B4-BE49-F238E27FC236}">
                <a16:creationId xmlns:a16="http://schemas.microsoft.com/office/drawing/2014/main" id="{32BF4051-CD5E-70AE-0827-C3A2E5F3B8C5}"/>
              </a:ext>
            </a:extLst>
          </p:cNvPr>
          <p:cNvSpPr/>
          <p:nvPr userDrawn="1"/>
        </p:nvSpPr>
        <p:spPr>
          <a:xfrm>
            <a:off x="8504433" y="4290554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34" y="0"/>
                </a:moveTo>
                <a:lnTo>
                  <a:pt x="206239" y="4051"/>
                </a:lnTo>
                <a:lnTo>
                  <a:pt x="163701" y="15730"/>
                </a:lnTo>
                <a:lnTo>
                  <a:pt x="124531" y="34328"/>
                </a:lnTo>
                <a:lnTo>
                  <a:pt x="89439" y="59134"/>
                </a:lnTo>
                <a:lnTo>
                  <a:pt x="59134" y="89439"/>
                </a:lnTo>
                <a:lnTo>
                  <a:pt x="34328" y="124531"/>
                </a:lnTo>
                <a:lnTo>
                  <a:pt x="15730" y="163701"/>
                </a:lnTo>
                <a:lnTo>
                  <a:pt x="4051" y="206239"/>
                </a:lnTo>
                <a:lnTo>
                  <a:pt x="0" y="251434"/>
                </a:lnTo>
                <a:lnTo>
                  <a:pt x="4051" y="296626"/>
                </a:lnTo>
                <a:lnTo>
                  <a:pt x="15730" y="339160"/>
                </a:lnTo>
                <a:lnTo>
                  <a:pt x="34328" y="378328"/>
                </a:lnTo>
                <a:lnTo>
                  <a:pt x="59134" y="413419"/>
                </a:lnTo>
                <a:lnTo>
                  <a:pt x="89439" y="443722"/>
                </a:lnTo>
                <a:lnTo>
                  <a:pt x="124531" y="468528"/>
                </a:lnTo>
                <a:lnTo>
                  <a:pt x="163701" y="487126"/>
                </a:lnTo>
                <a:lnTo>
                  <a:pt x="206239" y="498805"/>
                </a:lnTo>
                <a:lnTo>
                  <a:pt x="251434" y="502856"/>
                </a:lnTo>
                <a:lnTo>
                  <a:pt x="296629" y="498805"/>
                </a:lnTo>
                <a:lnTo>
                  <a:pt x="339165" y="487126"/>
                </a:lnTo>
                <a:lnTo>
                  <a:pt x="378334" y="468528"/>
                </a:lnTo>
                <a:lnTo>
                  <a:pt x="413424" y="443722"/>
                </a:lnTo>
                <a:lnTo>
                  <a:pt x="443726" y="413419"/>
                </a:lnTo>
                <a:lnTo>
                  <a:pt x="468531" y="378328"/>
                </a:lnTo>
                <a:lnTo>
                  <a:pt x="487127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7" y="163701"/>
                </a:lnTo>
                <a:lnTo>
                  <a:pt x="468531" y="124531"/>
                </a:lnTo>
                <a:lnTo>
                  <a:pt x="443726" y="89439"/>
                </a:lnTo>
                <a:lnTo>
                  <a:pt x="413424" y="59134"/>
                </a:lnTo>
                <a:lnTo>
                  <a:pt x="378334" y="34328"/>
                </a:lnTo>
                <a:lnTo>
                  <a:pt x="339165" y="15730"/>
                </a:lnTo>
                <a:lnTo>
                  <a:pt x="296629" y="4051"/>
                </a:lnTo>
                <a:lnTo>
                  <a:pt x="251434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8">
            <a:extLst>
              <a:ext uri="{FF2B5EF4-FFF2-40B4-BE49-F238E27FC236}">
                <a16:creationId xmlns:a16="http://schemas.microsoft.com/office/drawing/2014/main" id="{89CCE060-0ECE-0C71-9799-4CDF3281AF9A}"/>
              </a:ext>
            </a:extLst>
          </p:cNvPr>
          <p:cNvSpPr/>
          <p:nvPr userDrawn="1"/>
        </p:nvSpPr>
        <p:spPr>
          <a:xfrm>
            <a:off x="2057190" y="5942400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19" h="502920">
                <a:moveTo>
                  <a:pt x="251421" y="0"/>
                </a:moveTo>
                <a:lnTo>
                  <a:pt x="206227" y="4050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3"/>
                </a:lnTo>
                <a:lnTo>
                  <a:pt x="59129" y="89437"/>
                </a:lnTo>
                <a:lnTo>
                  <a:pt x="34325" y="124527"/>
                </a:lnTo>
                <a:lnTo>
                  <a:pt x="15728" y="163695"/>
                </a:lnTo>
                <a:lnTo>
                  <a:pt x="4050" y="206230"/>
                </a:lnTo>
                <a:lnTo>
                  <a:pt x="0" y="251421"/>
                </a:lnTo>
                <a:lnTo>
                  <a:pt x="4050" y="296617"/>
                </a:lnTo>
                <a:lnTo>
                  <a:pt x="15728" y="339154"/>
                </a:lnTo>
                <a:lnTo>
                  <a:pt x="34325" y="378325"/>
                </a:lnTo>
                <a:lnTo>
                  <a:pt x="59129" y="413417"/>
                </a:lnTo>
                <a:lnTo>
                  <a:pt x="89431" y="443721"/>
                </a:lnTo>
                <a:lnTo>
                  <a:pt x="124522" y="468527"/>
                </a:lnTo>
                <a:lnTo>
                  <a:pt x="163690" y="487125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5"/>
                </a:lnTo>
                <a:lnTo>
                  <a:pt x="378325" y="468527"/>
                </a:lnTo>
                <a:lnTo>
                  <a:pt x="413417" y="443721"/>
                </a:lnTo>
                <a:lnTo>
                  <a:pt x="443721" y="413417"/>
                </a:lnTo>
                <a:lnTo>
                  <a:pt x="468527" y="378325"/>
                </a:lnTo>
                <a:lnTo>
                  <a:pt x="487125" y="339154"/>
                </a:lnTo>
                <a:lnTo>
                  <a:pt x="498805" y="296617"/>
                </a:lnTo>
                <a:lnTo>
                  <a:pt x="502856" y="251421"/>
                </a:lnTo>
                <a:lnTo>
                  <a:pt x="498805" y="206230"/>
                </a:lnTo>
                <a:lnTo>
                  <a:pt x="487125" y="163695"/>
                </a:lnTo>
                <a:lnTo>
                  <a:pt x="468527" y="124527"/>
                </a:lnTo>
                <a:lnTo>
                  <a:pt x="443721" y="89437"/>
                </a:lnTo>
                <a:lnTo>
                  <a:pt x="413417" y="59133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0"/>
                </a:lnTo>
                <a:lnTo>
                  <a:pt x="251421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7141CBBA-6495-FF18-22B4-DF9A8F6B7FD4}"/>
              </a:ext>
            </a:extLst>
          </p:cNvPr>
          <p:cNvSpPr/>
          <p:nvPr userDrawn="1"/>
        </p:nvSpPr>
        <p:spPr>
          <a:xfrm>
            <a:off x="8267563" y="4977217"/>
            <a:ext cx="2079857" cy="1878320"/>
          </a:xfrm>
          <a:custGeom>
            <a:avLst/>
            <a:gdLst/>
            <a:ahLst/>
            <a:cxnLst/>
            <a:rect l="l" t="t" r="r" b="b"/>
            <a:pathLst>
              <a:path w="2293620" h="2071370">
                <a:moveTo>
                  <a:pt x="1146619" y="0"/>
                </a:moveTo>
                <a:lnTo>
                  <a:pt x="1098150" y="1005"/>
                </a:lnTo>
                <a:lnTo>
                  <a:pt x="1050193" y="3997"/>
                </a:lnTo>
                <a:lnTo>
                  <a:pt x="1002790" y="8933"/>
                </a:lnTo>
                <a:lnTo>
                  <a:pt x="955978" y="15776"/>
                </a:lnTo>
                <a:lnTo>
                  <a:pt x="909799" y="24484"/>
                </a:lnTo>
                <a:lnTo>
                  <a:pt x="864291" y="35018"/>
                </a:lnTo>
                <a:lnTo>
                  <a:pt x="819496" y="47339"/>
                </a:lnTo>
                <a:lnTo>
                  <a:pt x="775452" y="61406"/>
                </a:lnTo>
                <a:lnTo>
                  <a:pt x="732199" y="77180"/>
                </a:lnTo>
                <a:lnTo>
                  <a:pt x="689778" y="94621"/>
                </a:lnTo>
                <a:lnTo>
                  <a:pt x="648227" y="113689"/>
                </a:lnTo>
                <a:lnTo>
                  <a:pt x="607588" y="134344"/>
                </a:lnTo>
                <a:lnTo>
                  <a:pt x="567898" y="156547"/>
                </a:lnTo>
                <a:lnTo>
                  <a:pt x="529199" y="180257"/>
                </a:lnTo>
                <a:lnTo>
                  <a:pt x="491531" y="205436"/>
                </a:lnTo>
                <a:lnTo>
                  <a:pt x="454932" y="232042"/>
                </a:lnTo>
                <a:lnTo>
                  <a:pt x="419443" y="260037"/>
                </a:lnTo>
                <a:lnTo>
                  <a:pt x="385103" y="289380"/>
                </a:lnTo>
                <a:lnTo>
                  <a:pt x="351953" y="320032"/>
                </a:lnTo>
                <a:lnTo>
                  <a:pt x="320032" y="351953"/>
                </a:lnTo>
                <a:lnTo>
                  <a:pt x="289380" y="385103"/>
                </a:lnTo>
                <a:lnTo>
                  <a:pt x="260037" y="419443"/>
                </a:lnTo>
                <a:lnTo>
                  <a:pt x="232042" y="454932"/>
                </a:lnTo>
                <a:lnTo>
                  <a:pt x="205436" y="491531"/>
                </a:lnTo>
                <a:lnTo>
                  <a:pt x="180257" y="529199"/>
                </a:lnTo>
                <a:lnTo>
                  <a:pt x="156547" y="567898"/>
                </a:lnTo>
                <a:lnTo>
                  <a:pt x="134344" y="607588"/>
                </a:lnTo>
                <a:lnTo>
                  <a:pt x="113689" y="648227"/>
                </a:lnTo>
                <a:lnTo>
                  <a:pt x="94621" y="689778"/>
                </a:lnTo>
                <a:lnTo>
                  <a:pt x="77180" y="732199"/>
                </a:lnTo>
                <a:lnTo>
                  <a:pt x="61406" y="775452"/>
                </a:lnTo>
                <a:lnTo>
                  <a:pt x="47339" y="819496"/>
                </a:lnTo>
                <a:lnTo>
                  <a:pt x="35018" y="864291"/>
                </a:lnTo>
                <a:lnTo>
                  <a:pt x="24484" y="909799"/>
                </a:lnTo>
                <a:lnTo>
                  <a:pt x="15776" y="955978"/>
                </a:lnTo>
                <a:lnTo>
                  <a:pt x="8933" y="1002790"/>
                </a:lnTo>
                <a:lnTo>
                  <a:pt x="3997" y="1050193"/>
                </a:lnTo>
                <a:lnTo>
                  <a:pt x="1005" y="1098150"/>
                </a:lnTo>
                <a:lnTo>
                  <a:pt x="0" y="1146619"/>
                </a:lnTo>
                <a:lnTo>
                  <a:pt x="1005" y="1195088"/>
                </a:lnTo>
                <a:lnTo>
                  <a:pt x="3997" y="1243045"/>
                </a:lnTo>
                <a:lnTo>
                  <a:pt x="8933" y="1290448"/>
                </a:lnTo>
                <a:lnTo>
                  <a:pt x="15776" y="1337260"/>
                </a:lnTo>
                <a:lnTo>
                  <a:pt x="24484" y="1383439"/>
                </a:lnTo>
                <a:lnTo>
                  <a:pt x="35018" y="1428947"/>
                </a:lnTo>
                <a:lnTo>
                  <a:pt x="47339" y="1473742"/>
                </a:lnTo>
                <a:lnTo>
                  <a:pt x="61406" y="1517786"/>
                </a:lnTo>
                <a:lnTo>
                  <a:pt x="77180" y="1561039"/>
                </a:lnTo>
                <a:lnTo>
                  <a:pt x="94621" y="1603460"/>
                </a:lnTo>
                <a:lnTo>
                  <a:pt x="113689" y="1645011"/>
                </a:lnTo>
                <a:lnTo>
                  <a:pt x="134344" y="1685650"/>
                </a:lnTo>
                <a:lnTo>
                  <a:pt x="156547" y="1725340"/>
                </a:lnTo>
                <a:lnTo>
                  <a:pt x="180257" y="1764039"/>
                </a:lnTo>
                <a:lnTo>
                  <a:pt x="205436" y="1801707"/>
                </a:lnTo>
                <a:lnTo>
                  <a:pt x="232042" y="1838306"/>
                </a:lnTo>
                <a:lnTo>
                  <a:pt x="260037" y="1873795"/>
                </a:lnTo>
                <a:lnTo>
                  <a:pt x="289380" y="1908135"/>
                </a:lnTo>
                <a:lnTo>
                  <a:pt x="320032" y="1941285"/>
                </a:lnTo>
                <a:lnTo>
                  <a:pt x="351953" y="1973206"/>
                </a:lnTo>
                <a:lnTo>
                  <a:pt x="385103" y="2003858"/>
                </a:lnTo>
                <a:lnTo>
                  <a:pt x="419443" y="2033201"/>
                </a:lnTo>
                <a:lnTo>
                  <a:pt x="454932" y="2061196"/>
                </a:lnTo>
                <a:lnTo>
                  <a:pt x="468748" y="2071240"/>
                </a:lnTo>
                <a:lnTo>
                  <a:pt x="1824490" y="2071240"/>
                </a:lnTo>
                <a:lnTo>
                  <a:pt x="1873795" y="2033201"/>
                </a:lnTo>
                <a:lnTo>
                  <a:pt x="1908135" y="2003858"/>
                </a:lnTo>
                <a:lnTo>
                  <a:pt x="1941285" y="1973206"/>
                </a:lnTo>
                <a:lnTo>
                  <a:pt x="1973206" y="1941285"/>
                </a:lnTo>
                <a:lnTo>
                  <a:pt x="2003858" y="1908135"/>
                </a:lnTo>
                <a:lnTo>
                  <a:pt x="2033201" y="1873795"/>
                </a:lnTo>
                <a:lnTo>
                  <a:pt x="2061196" y="1838306"/>
                </a:lnTo>
                <a:lnTo>
                  <a:pt x="2087802" y="1801707"/>
                </a:lnTo>
                <a:lnTo>
                  <a:pt x="2112981" y="1764039"/>
                </a:lnTo>
                <a:lnTo>
                  <a:pt x="2136691" y="1725340"/>
                </a:lnTo>
                <a:lnTo>
                  <a:pt x="2158894" y="1685650"/>
                </a:lnTo>
                <a:lnTo>
                  <a:pt x="2179549" y="1645011"/>
                </a:lnTo>
                <a:lnTo>
                  <a:pt x="2198617" y="1603460"/>
                </a:lnTo>
                <a:lnTo>
                  <a:pt x="2216058" y="1561039"/>
                </a:lnTo>
                <a:lnTo>
                  <a:pt x="2231832" y="1517786"/>
                </a:lnTo>
                <a:lnTo>
                  <a:pt x="2245899" y="1473742"/>
                </a:lnTo>
                <a:lnTo>
                  <a:pt x="2258220" y="1428947"/>
                </a:lnTo>
                <a:lnTo>
                  <a:pt x="2268754" y="1383439"/>
                </a:lnTo>
                <a:lnTo>
                  <a:pt x="2277462" y="1337260"/>
                </a:lnTo>
                <a:lnTo>
                  <a:pt x="2284305" y="1290448"/>
                </a:lnTo>
                <a:lnTo>
                  <a:pt x="2289241" y="1243045"/>
                </a:lnTo>
                <a:lnTo>
                  <a:pt x="2292233" y="1195088"/>
                </a:lnTo>
                <a:lnTo>
                  <a:pt x="2293238" y="1146619"/>
                </a:lnTo>
                <a:lnTo>
                  <a:pt x="2292233" y="1098150"/>
                </a:lnTo>
                <a:lnTo>
                  <a:pt x="2289241" y="1050193"/>
                </a:lnTo>
                <a:lnTo>
                  <a:pt x="2284305" y="1002790"/>
                </a:lnTo>
                <a:lnTo>
                  <a:pt x="2277462" y="955978"/>
                </a:lnTo>
                <a:lnTo>
                  <a:pt x="2268754" y="909799"/>
                </a:lnTo>
                <a:lnTo>
                  <a:pt x="2258220" y="864291"/>
                </a:lnTo>
                <a:lnTo>
                  <a:pt x="2245899" y="819496"/>
                </a:lnTo>
                <a:lnTo>
                  <a:pt x="2231832" y="775452"/>
                </a:lnTo>
                <a:lnTo>
                  <a:pt x="2216058" y="732199"/>
                </a:lnTo>
                <a:lnTo>
                  <a:pt x="2198617" y="689778"/>
                </a:lnTo>
                <a:lnTo>
                  <a:pt x="2179549" y="648227"/>
                </a:lnTo>
                <a:lnTo>
                  <a:pt x="2158894" y="607588"/>
                </a:lnTo>
                <a:lnTo>
                  <a:pt x="2136691" y="567898"/>
                </a:lnTo>
                <a:lnTo>
                  <a:pt x="2112981" y="529199"/>
                </a:lnTo>
                <a:lnTo>
                  <a:pt x="2087802" y="491531"/>
                </a:lnTo>
                <a:lnTo>
                  <a:pt x="2061196" y="454932"/>
                </a:lnTo>
                <a:lnTo>
                  <a:pt x="2033201" y="419443"/>
                </a:lnTo>
                <a:lnTo>
                  <a:pt x="2003858" y="385103"/>
                </a:lnTo>
                <a:lnTo>
                  <a:pt x="1973206" y="351953"/>
                </a:lnTo>
                <a:lnTo>
                  <a:pt x="1941285" y="320032"/>
                </a:lnTo>
                <a:lnTo>
                  <a:pt x="1908135" y="289380"/>
                </a:lnTo>
                <a:lnTo>
                  <a:pt x="1873795" y="260037"/>
                </a:lnTo>
                <a:lnTo>
                  <a:pt x="1838306" y="232042"/>
                </a:lnTo>
                <a:lnTo>
                  <a:pt x="1801707" y="205436"/>
                </a:lnTo>
                <a:lnTo>
                  <a:pt x="1764039" y="180257"/>
                </a:lnTo>
                <a:lnTo>
                  <a:pt x="1725340" y="156547"/>
                </a:lnTo>
                <a:lnTo>
                  <a:pt x="1685650" y="134344"/>
                </a:lnTo>
                <a:lnTo>
                  <a:pt x="1645011" y="113689"/>
                </a:lnTo>
                <a:lnTo>
                  <a:pt x="1603460" y="94621"/>
                </a:lnTo>
                <a:lnTo>
                  <a:pt x="1561039" y="77180"/>
                </a:lnTo>
                <a:lnTo>
                  <a:pt x="1517786" y="61406"/>
                </a:lnTo>
                <a:lnTo>
                  <a:pt x="1473742" y="47339"/>
                </a:lnTo>
                <a:lnTo>
                  <a:pt x="1428947" y="35018"/>
                </a:lnTo>
                <a:lnTo>
                  <a:pt x="1383439" y="24484"/>
                </a:lnTo>
                <a:lnTo>
                  <a:pt x="1337260" y="15776"/>
                </a:lnTo>
                <a:lnTo>
                  <a:pt x="1290448" y="8933"/>
                </a:lnTo>
                <a:lnTo>
                  <a:pt x="1243045" y="3997"/>
                </a:lnTo>
                <a:lnTo>
                  <a:pt x="1195088" y="1005"/>
                </a:lnTo>
                <a:lnTo>
                  <a:pt x="1146619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0">
            <a:extLst>
              <a:ext uri="{FF2B5EF4-FFF2-40B4-BE49-F238E27FC236}">
                <a16:creationId xmlns:a16="http://schemas.microsoft.com/office/drawing/2014/main" id="{E0F02E1B-8C76-98ED-7767-7488A7B40534}"/>
              </a:ext>
            </a:extLst>
          </p:cNvPr>
          <p:cNvSpPr/>
          <p:nvPr userDrawn="1"/>
        </p:nvSpPr>
        <p:spPr>
          <a:xfrm>
            <a:off x="10400414" y="1"/>
            <a:ext cx="1786189" cy="1731487"/>
          </a:xfrm>
          <a:custGeom>
            <a:avLst/>
            <a:gdLst/>
            <a:ahLst/>
            <a:cxnLst/>
            <a:rect l="l" t="t" r="r" b="b"/>
            <a:pathLst>
              <a:path w="1969769" h="1909445">
                <a:moveTo>
                  <a:pt x="1969200" y="0"/>
                </a:moveTo>
                <a:lnTo>
                  <a:pt x="290407" y="0"/>
                </a:lnTo>
                <a:lnTo>
                  <a:pt x="289380" y="1110"/>
                </a:lnTo>
                <a:lnTo>
                  <a:pt x="260037" y="35449"/>
                </a:lnTo>
                <a:lnTo>
                  <a:pt x="232042" y="70938"/>
                </a:lnTo>
                <a:lnTo>
                  <a:pt x="205436" y="107537"/>
                </a:lnTo>
                <a:lnTo>
                  <a:pt x="180257" y="145206"/>
                </a:lnTo>
                <a:lnTo>
                  <a:pt x="156547" y="183905"/>
                </a:lnTo>
                <a:lnTo>
                  <a:pt x="134344" y="223594"/>
                </a:lnTo>
                <a:lnTo>
                  <a:pt x="113689" y="264234"/>
                </a:lnTo>
                <a:lnTo>
                  <a:pt x="94621" y="305784"/>
                </a:lnTo>
                <a:lnTo>
                  <a:pt x="77180" y="348206"/>
                </a:lnTo>
                <a:lnTo>
                  <a:pt x="61406" y="391458"/>
                </a:lnTo>
                <a:lnTo>
                  <a:pt x="47339" y="435502"/>
                </a:lnTo>
                <a:lnTo>
                  <a:pt x="35018" y="480298"/>
                </a:lnTo>
                <a:lnTo>
                  <a:pt x="24484" y="525805"/>
                </a:lnTo>
                <a:lnTo>
                  <a:pt x="15776" y="571984"/>
                </a:lnTo>
                <a:lnTo>
                  <a:pt x="8933" y="618796"/>
                </a:lnTo>
                <a:lnTo>
                  <a:pt x="3997" y="666200"/>
                </a:lnTo>
                <a:lnTo>
                  <a:pt x="1005" y="714156"/>
                </a:lnTo>
                <a:lnTo>
                  <a:pt x="0" y="762625"/>
                </a:lnTo>
                <a:lnTo>
                  <a:pt x="1005" y="811095"/>
                </a:lnTo>
                <a:lnTo>
                  <a:pt x="3997" y="859051"/>
                </a:lnTo>
                <a:lnTo>
                  <a:pt x="8933" y="906455"/>
                </a:lnTo>
                <a:lnTo>
                  <a:pt x="15776" y="953266"/>
                </a:lnTo>
                <a:lnTo>
                  <a:pt x="24484" y="999446"/>
                </a:lnTo>
                <a:lnTo>
                  <a:pt x="35018" y="1044953"/>
                </a:lnTo>
                <a:lnTo>
                  <a:pt x="47339" y="1089748"/>
                </a:lnTo>
                <a:lnTo>
                  <a:pt x="61406" y="1133792"/>
                </a:lnTo>
                <a:lnTo>
                  <a:pt x="77180" y="1177045"/>
                </a:lnTo>
                <a:lnTo>
                  <a:pt x="94621" y="1219467"/>
                </a:lnTo>
                <a:lnTo>
                  <a:pt x="113689" y="1261017"/>
                </a:lnTo>
                <a:lnTo>
                  <a:pt x="134344" y="1301657"/>
                </a:lnTo>
                <a:lnTo>
                  <a:pt x="156547" y="1341346"/>
                </a:lnTo>
                <a:lnTo>
                  <a:pt x="180257" y="1380045"/>
                </a:lnTo>
                <a:lnTo>
                  <a:pt x="205436" y="1417714"/>
                </a:lnTo>
                <a:lnTo>
                  <a:pt x="232042" y="1454312"/>
                </a:lnTo>
                <a:lnTo>
                  <a:pt x="260037" y="1489801"/>
                </a:lnTo>
                <a:lnTo>
                  <a:pt x="289380" y="1524141"/>
                </a:lnTo>
                <a:lnTo>
                  <a:pt x="320032" y="1557291"/>
                </a:lnTo>
                <a:lnTo>
                  <a:pt x="351953" y="1589212"/>
                </a:lnTo>
                <a:lnTo>
                  <a:pt x="385103" y="1619864"/>
                </a:lnTo>
                <a:lnTo>
                  <a:pt x="419443" y="1649207"/>
                </a:lnTo>
                <a:lnTo>
                  <a:pt x="454932" y="1677202"/>
                </a:lnTo>
                <a:lnTo>
                  <a:pt x="491531" y="1703809"/>
                </a:lnTo>
                <a:lnTo>
                  <a:pt x="529199" y="1728987"/>
                </a:lnTo>
                <a:lnTo>
                  <a:pt x="567898" y="1752698"/>
                </a:lnTo>
                <a:lnTo>
                  <a:pt x="607588" y="1774900"/>
                </a:lnTo>
                <a:lnTo>
                  <a:pt x="648227" y="1795556"/>
                </a:lnTo>
                <a:lnTo>
                  <a:pt x="689778" y="1814623"/>
                </a:lnTo>
                <a:lnTo>
                  <a:pt x="732199" y="1832064"/>
                </a:lnTo>
                <a:lnTo>
                  <a:pt x="775452" y="1847838"/>
                </a:lnTo>
                <a:lnTo>
                  <a:pt x="819496" y="1861905"/>
                </a:lnTo>
                <a:lnTo>
                  <a:pt x="864291" y="1874226"/>
                </a:lnTo>
                <a:lnTo>
                  <a:pt x="909799" y="1884760"/>
                </a:lnTo>
                <a:lnTo>
                  <a:pt x="955978" y="1893469"/>
                </a:lnTo>
                <a:lnTo>
                  <a:pt x="1002790" y="1900311"/>
                </a:lnTo>
                <a:lnTo>
                  <a:pt x="1050193" y="1905248"/>
                </a:lnTo>
                <a:lnTo>
                  <a:pt x="1098150" y="1908239"/>
                </a:lnTo>
                <a:lnTo>
                  <a:pt x="1146619" y="1909245"/>
                </a:lnTo>
                <a:lnTo>
                  <a:pt x="1195088" y="1908239"/>
                </a:lnTo>
                <a:lnTo>
                  <a:pt x="1243045" y="1905248"/>
                </a:lnTo>
                <a:lnTo>
                  <a:pt x="1290448" y="1900311"/>
                </a:lnTo>
                <a:lnTo>
                  <a:pt x="1337260" y="1893469"/>
                </a:lnTo>
                <a:lnTo>
                  <a:pt x="1383439" y="1884760"/>
                </a:lnTo>
                <a:lnTo>
                  <a:pt x="1428947" y="1874226"/>
                </a:lnTo>
                <a:lnTo>
                  <a:pt x="1473742" y="1861905"/>
                </a:lnTo>
                <a:lnTo>
                  <a:pt x="1517786" y="1847838"/>
                </a:lnTo>
                <a:lnTo>
                  <a:pt x="1561039" y="1832064"/>
                </a:lnTo>
                <a:lnTo>
                  <a:pt x="1603460" y="1814623"/>
                </a:lnTo>
                <a:lnTo>
                  <a:pt x="1645011" y="1795556"/>
                </a:lnTo>
                <a:lnTo>
                  <a:pt x="1685650" y="1774900"/>
                </a:lnTo>
                <a:lnTo>
                  <a:pt x="1725340" y="1752698"/>
                </a:lnTo>
                <a:lnTo>
                  <a:pt x="1764039" y="1728987"/>
                </a:lnTo>
                <a:lnTo>
                  <a:pt x="1801707" y="1703809"/>
                </a:lnTo>
                <a:lnTo>
                  <a:pt x="1838306" y="1677202"/>
                </a:lnTo>
                <a:lnTo>
                  <a:pt x="1873795" y="1649207"/>
                </a:lnTo>
                <a:lnTo>
                  <a:pt x="1908135" y="1619864"/>
                </a:lnTo>
                <a:lnTo>
                  <a:pt x="1941285" y="1589212"/>
                </a:lnTo>
                <a:lnTo>
                  <a:pt x="1969200" y="1561297"/>
                </a:lnTo>
                <a:lnTo>
                  <a:pt x="1969200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1">
            <a:extLst>
              <a:ext uri="{FF2B5EF4-FFF2-40B4-BE49-F238E27FC236}">
                <a16:creationId xmlns:a16="http://schemas.microsoft.com/office/drawing/2014/main" id="{7B34A8DD-D41C-3245-93E3-36FCB3FF36B9}"/>
              </a:ext>
            </a:extLst>
          </p:cNvPr>
          <p:cNvSpPr/>
          <p:nvPr userDrawn="1"/>
        </p:nvSpPr>
        <p:spPr>
          <a:xfrm>
            <a:off x="4070293" y="0"/>
            <a:ext cx="2079857" cy="1720546"/>
          </a:xfrm>
          <a:custGeom>
            <a:avLst/>
            <a:gdLst/>
            <a:ahLst/>
            <a:cxnLst/>
            <a:rect l="l" t="t" r="r" b="b"/>
            <a:pathLst>
              <a:path w="2293620" h="1897380">
                <a:moveTo>
                  <a:pt x="2013162" y="0"/>
                </a:moveTo>
                <a:lnTo>
                  <a:pt x="280076" y="0"/>
                </a:lnTo>
                <a:lnTo>
                  <a:pt x="260037" y="23451"/>
                </a:lnTo>
                <a:lnTo>
                  <a:pt x="232042" y="58940"/>
                </a:lnTo>
                <a:lnTo>
                  <a:pt x="205436" y="95539"/>
                </a:lnTo>
                <a:lnTo>
                  <a:pt x="180257" y="133207"/>
                </a:lnTo>
                <a:lnTo>
                  <a:pt x="156547" y="171906"/>
                </a:lnTo>
                <a:lnTo>
                  <a:pt x="134344" y="211595"/>
                </a:lnTo>
                <a:lnTo>
                  <a:pt x="113689" y="252235"/>
                </a:lnTo>
                <a:lnTo>
                  <a:pt x="94621" y="293786"/>
                </a:lnTo>
                <a:lnTo>
                  <a:pt x="77180" y="336207"/>
                </a:lnTo>
                <a:lnTo>
                  <a:pt x="61406" y="379460"/>
                </a:lnTo>
                <a:lnTo>
                  <a:pt x="47339" y="423504"/>
                </a:lnTo>
                <a:lnTo>
                  <a:pt x="35018" y="468299"/>
                </a:lnTo>
                <a:lnTo>
                  <a:pt x="24484" y="513807"/>
                </a:lnTo>
                <a:lnTo>
                  <a:pt x="15776" y="559986"/>
                </a:lnTo>
                <a:lnTo>
                  <a:pt x="8933" y="606797"/>
                </a:lnTo>
                <a:lnTo>
                  <a:pt x="3997" y="654201"/>
                </a:lnTo>
                <a:lnTo>
                  <a:pt x="1005" y="702158"/>
                </a:lnTo>
                <a:lnTo>
                  <a:pt x="0" y="750627"/>
                </a:lnTo>
                <a:lnTo>
                  <a:pt x="1005" y="799096"/>
                </a:lnTo>
                <a:lnTo>
                  <a:pt x="3997" y="847052"/>
                </a:lnTo>
                <a:lnTo>
                  <a:pt x="8933" y="894456"/>
                </a:lnTo>
                <a:lnTo>
                  <a:pt x="15776" y="941268"/>
                </a:lnTo>
                <a:lnTo>
                  <a:pt x="24484" y="987447"/>
                </a:lnTo>
                <a:lnTo>
                  <a:pt x="35018" y="1032954"/>
                </a:lnTo>
                <a:lnTo>
                  <a:pt x="47339" y="1077750"/>
                </a:lnTo>
                <a:lnTo>
                  <a:pt x="61406" y="1121794"/>
                </a:lnTo>
                <a:lnTo>
                  <a:pt x="77180" y="1165047"/>
                </a:lnTo>
                <a:lnTo>
                  <a:pt x="94621" y="1207468"/>
                </a:lnTo>
                <a:lnTo>
                  <a:pt x="113689" y="1249019"/>
                </a:lnTo>
                <a:lnTo>
                  <a:pt x="134344" y="1289658"/>
                </a:lnTo>
                <a:lnTo>
                  <a:pt x="156547" y="1329348"/>
                </a:lnTo>
                <a:lnTo>
                  <a:pt x="180257" y="1368046"/>
                </a:lnTo>
                <a:lnTo>
                  <a:pt x="205436" y="1405715"/>
                </a:lnTo>
                <a:lnTo>
                  <a:pt x="232042" y="1442314"/>
                </a:lnTo>
                <a:lnTo>
                  <a:pt x="260037" y="1477803"/>
                </a:lnTo>
                <a:lnTo>
                  <a:pt x="289380" y="1512142"/>
                </a:lnTo>
                <a:lnTo>
                  <a:pt x="320032" y="1545293"/>
                </a:lnTo>
                <a:lnTo>
                  <a:pt x="351953" y="1577214"/>
                </a:lnTo>
                <a:lnTo>
                  <a:pt x="385103" y="1607866"/>
                </a:lnTo>
                <a:lnTo>
                  <a:pt x="419443" y="1637209"/>
                </a:lnTo>
                <a:lnTo>
                  <a:pt x="454932" y="1665204"/>
                </a:lnTo>
                <a:lnTo>
                  <a:pt x="491531" y="1691810"/>
                </a:lnTo>
                <a:lnTo>
                  <a:pt x="529199" y="1716989"/>
                </a:lnTo>
                <a:lnTo>
                  <a:pt x="567898" y="1740699"/>
                </a:lnTo>
                <a:lnTo>
                  <a:pt x="607588" y="1762902"/>
                </a:lnTo>
                <a:lnTo>
                  <a:pt x="648227" y="1783557"/>
                </a:lnTo>
                <a:lnTo>
                  <a:pt x="689778" y="1802625"/>
                </a:lnTo>
                <a:lnTo>
                  <a:pt x="732199" y="1820066"/>
                </a:lnTo>
                <a:lnTo>
                  <a:pt x="775452" y="1835840"/>
                </a:lnTo>
                <a:lnTo>
                  <a:pt x="819496" y="1849907"/>
                </a:lnTo>
                <a:lnTo>
                  <a:pt x="864291" y="1862228"/>
                </a:lnTo>
                <a:lnTo>
                  <a:pt x="909799" y="1872762"/>
                </a:lnTo>
                <a:lnTo>
                  <a:pt x="955978" y="1881470"/>
                </a:lnTo>
                <a:lnTo>
                  <a:pt x="1002790" y="1888313"/>
                </a:lnTo>
                <a:lnTo>
                  <a:pt x="1050193" y="1893249"/>
                </a:lnTo>
                <a:lnTo>
                  <a:pt x="1098150" y="1896240"/>
                </a:lnTo>
                <a:lnTo>
                  <a:pt x="1146619" y="1897246"/>
                </a:lnTo>
                <a:lnTo>
                  <a:pt x="1195088" y="1896240"/>
                </a:lnTo>
                <a:lnTo>
                  <a:pt x="1243045" y="1893249"/>
                </a:lnTo>
                <a:lnTo>
                  <a:pt x="1290448" y="1888313"/>
                </a:lnTo>
                <a:lnTo>
                  <a:pt x="1337260" y="1881470"/>
                </a:lnTo>
                <a:lnTo>
                  <a:pt x="1383439" y="1872762"/>
                </a:lnTo>
                <a:lnTo>
                  <a:pt x="1428947" y="1862228"/>
                </a:lnTo>
                <a:lnTo>
                  <a:pt x="1473742" y="1849907"/>
                </a:lnTo>
                <a:lnTo>
                  <a:pt x="1517786" y="1835840"/>
                </a:lnTo>
                <a:lnTo>
                  <a:pt x="1561039" y="1820066"/>
                </a:lnTo>
                <a:lnTo>
                  <a:pt x="1603460" y="1802625"/>
                </a:lnTo>
                <a:lnTo>
                  <a:pt x="1645011" y="1783557"/>
                </a:lnTo>
                <a:lnTo>
                  <a:pt x="1685650" y="1762902"/>
                </a:lnTo>
                <a:lnTo>
                  <a:pt x="1725340" y="1740699"/>
                </a:lnTo>
                <a:lnTo>
                  <a:pt x="1764039" y="1716989"/>
                </a:lnTo>
                <a:lnTo>
                  <a:pt x="1801707" y="1691810"/>
                </a:lnTo>
                <a:lnTo>
                  <a:pt x="1838306" y="1665204"/>
                </a:lnTo>
                <a:lnTo>
                  <a:pt x="1873795" y="1637209"/>
                </a:lnTo>
                <a:lnTo>
                  <a:pt x="1908135" y="1607866"/>
                </a:lnTo>
                <a:lnTo>
                  <a:pt x="1941285" y="1577214"/>
                </a:lnTo>
                <a:lnTo>
                  <a:pt x="1973206" y="1545293"/>
                </a:lnTo>
                <a:lnTo>
                  <a:pt x="2003858" y="1512142"/>
                </a:lnTo>
                <a:lnTo>
                  <a:pt x="2033201" y="1477803"/>
                </a:lnTo>
                <a:lnTo>
                  <a:pt x="2061196" y="1442314"/>
                </a:lnTo>
                <a:lnTo>
                  <a:pt x="2087802" y="1405715"/>
                </a:lnTo>
                <a:lnTo>
                  <a:pt x="2112981" y="1368046"/>
                </a:lnTo>
                <a:lnTo>
                  <a:pt x="2136691" y="1329348"/>
                </a:lnTo>
                <a:lnTo>
                  <a:pt x="2158894" y="1289658"/>
                </a:lnTo>
                <a:lnTo>
                  <a:pt x="2179549" y="1249019"/>
                </a:lnTo>
                <a:lnTo>
                  <a:pt x="2198617" y="1207468"/>
                </a:lnTo>
                <a:lnTo>
                  <a:pt x="2216058" y="1165047"/>
                </a:lnTo>
                <a:lnTo>
                  <a:pt x="2231832" y="1121794"/>
                </a:lnTo>
                <a:lnTo>
                  <a:pt x="2245899" y="1077750"/>
                </a:lnTo>
                <a:lnTo>
                  <a:pt x="2258220" y="1032954"/>
                </a:lnTo>
                <a:lnTo>
                  <a:pt x="2268754" y="987447"/>
                </a:lnTo>
                <a:lnTo>
                  <a:pt x="2277462" y="941268"/>
                </a:lnTo>
                <a:lnTo>
                  <a:pt x="2284305" y="894456"/>
                </a:lnTo>
                <a:lnTo>
                  <a:pt x="2289241" y="847052"/>
                </a:lnTo>
                <a:lnTo>
                  <a:pt x="2292233" y="799096"/>
                </a:lnTo>
                <a:lnTo>
                  <a:pt x="2293239" y="750627"/>
                </a:lnTo>
                <a:lnTo>
                  <a:pt x="2292233" y="702158"/>
                </a:lnTo>
                <a:lnTo>
                  <a:pt x="2289241" y="654201"/>
                </a:lnTo>
                <a:lnTo>
                  <a:pt x="2284305" y="606797"/>
                </a:lnTo>
                <a:lnTo>
                  <a:pt x="2277462" y="559986"/>
                </a:lnTo>
                <a:lnTo>
                  <a:pt x="2268754" y="513807"/>
                </a:lnTo>
                <a:lnTo>
                  <a:pt x="2258220" y="468299"/>
                </a:lnTo>
                <a:lnTo>
                  <a:pt x="2245899" y="423504"/>
                </a:lnTo>
                <a:lnTo>
                  <a:pt x="2231832" y="379460"/>
                </a:lnTo>
                <a:lnTo>
                  <a:pt x="2216058" y="336207"/>
                </a:lnTo>
                <a:lnTo>
                  <a:pt x="2198617" y="293786"/>
                </a:lnTo>
                <a:lnTo>
                  <a:pt x="2179549" y="252235"/>
                </a:lnTo>
                <a:lnTo>
                  <a:pt x="2158894" y="211595"/>
                </a:lnTo>
                <a:lnTo>
                  <a:pt x="2136691" y="171906"/>
                </a:lnTo>
                <a:lnTo>
                  <a:pt x="2112981" y="133207"/>
                </a:lnTo>
                <a:lnTo>
                  <a:pt x="2087802" y="95539"/>
                </a:lnTo>
                <a:lnTo>
                  <a:pt x="2061196" y="58940"/>
                </a:lnTo>
                <a:lnTo>
                  <a:pt x="2033201" y="23451"/>
                </a:lnTo>
                <a:lnTo>
                  <a:pt x="201316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2">
            <a:extLst>
              <a:ext uri="{FF2B5EF4-FFF2-40B4-BE49-F238E27FC236}">
                <a16:creationId xmlns:a16="http://schemas.microsoft.com/office/drawing/2014/main" id="{EC1E7D3B-C443-374D-319F-4AD43BBA4E29}"/>
              </a:ext>
            </a:extLst>
          </p:cNvPr>
          <p:cNvSpPr/>
          <p:nvPr userDrawn="1"/>
        </p:nvSpPr>
        <p:spPr>
          <a:xfrm>
            <a:off x="10321566" y="3966353"/>
            <a:ext cx="1580045" cy="1580045"/>
          </a:xfrm>
          <a:custGeom>
            <a:avLst/>
            <a:gdLst/>
            <a:ahLst/>
            <a:cxnLst/>
            <a:rect l="l" t="t" r="r" b="b"/>
            <a:pathLst>
              <a:path w="1742440" h="1742439">
                <a:moveTo>
                  <a:pt x="871016" y="0"/>
                </a:moveTo>
                <a:lnTo>
                  <a:pt x="823226" y="1288"/>
                </a:lnTo>
                <a:lnTo>
                  <a:pt x="776109" y="5110"/>
                </a:lnTo>
                <a:lnTo>
                  <a:pt x="729733" y="11400"/>
                </a:lnTo>
                <a:lnTo>
                  <a:pt x="684162" y="20089"/>
                </a:lnTo>
                <a:lnTo>
                  <a:pt x="639465" y="31113"/>
                </a:lnTo>
                <a:lnTo>
                  <a:pt x="595707" y="44404"/>
                </a:lnTo>
                <a:lnTo>
                  <a:pt x="552955" y="59897"/>
                </a:lnTo>
                <a:lnTo>
                  <a:pt x="511275" y="77525"/>
                </a:lnTo>
                <a:lnTo>
                  <a:pt x="470733" y="97221"/>
                </a:lnTo>
                <a:lnTo>
                  <a:pt x="431397" y="118919"/>
                </a:lnTo>
                <a:lnTo>
                  <a:pt x="393332" y="142552"/>
                </a:lnTo>
                <a:lnTo>
                  <a:pt x="356605" y="168055"/>
                </a:lnTo>
                <a:lnTo>
                  <a:pt x="321282" y="195360"/>
                </a:lnTo>
                <a:lnTo>
                  <a:pt x="287429" y="224402"/>
                </a:lnTo>
                <a:lnTo>
                  <a:pt x="255114" y="255114"/>
                </a:lnTo>
                <a:lnTo>
                  <a:pt x="224402" y="287429"/>
                </a:lnTo>
                <a:lnTo>
                  <a:pt x="195360" y="321282"/>
                </a:lnTo>
                <a:lnTo>
                  <a:pt x="168055" y="356605"/>
                </a:lnTo>
                <a:lnTo>
                  <a:pt x="142552" y="393332"/>
                </a:lnTo>
                <a:lnTo>
                  <a:pt x="118919" y="431397"/>
                </a:lnTo>
                <a:lnTo>
                  <a:pt x="97221" y="470733"/>
                </a:lnTo>
                <a:lnTo>
                  <a:pt x="77525" y="511275"/>
                </a:lnTo>
                <a:lnTo>
                  <a:pt x="59897" y="552955"/>
                </a:lnTo>
                <a:lnTo>
                  <a:pt x="44404" y="595707"/>
                </a:lnTo>
                <a:lnTo>
                  <a:pt x="31113" y="639465"/>
                </a:lnTo>
                <a:lnTo>
                  <a:pt x="20089" y="684162"/>
                </a:lnTo>
                <a:lnTo>
                  <a:pt x="11400" y="729733"/>
                </a:lnTo>
                <a:lnTo>
                  <a:pt x="5110" y="776109"/>
                </a:lnTo>
                <a:lnTo>
                  <a:pt x="1288" y="823226"/>
                </a:lnTo>
                <a:lnTo>
                  <a:pt x="0" y="871016"/>
                </a:lnTo>
                <a:lnTo>
                  <a:pt x="1288" y="918807"/>
                </a:lnTo>
                <a:lnTo>
                  <a:pt x="5110" y="965923"/>
                </a:lnTo>
                <a:lnTo>
                  <a:pt x="11400" y="1012300"/>
                </a:lnTo>
                <a:lnTo>
                  <a:pt x="20089" y="1057870"/>
                </a:lnTo>
                <a:lnTo>
                  <a:pt x="31113" y="1102568"/>
                </a:lnTo>
                <a:lnTo>
                  <a:pt x="44404" y="1146325"/>
                </a:lnTo>
                <a:lnTo>
                  <a:pt x="59897" y="1189078"/>
                </a:lnTo>
                <a:lnTo>
                  <a:pt x="77525" y="1230758"/>
                </a:lnTo>
                <a:lnTo>
                  <a:pt x="97221" y="1271299"/>
                </a:lnTo>
                <a:lnTo>
                  <a:pt x="118919" y="1310636"/>
                </a:lnTo>
                <a:lnTo>
                  <a:pt x="142552" y="1348701"/>
                </a:lnTo>
                <a:lnTo>
                  <a:pt x="168055" y="1385428"/>
                </a:lnTo>
                <a:lnTo>
                  <a:pt x="195360" y="1420751"/>
                </a:lnTo>
                <a:lnTo>
                  <a:pt x="224402" y="1454603"/>
                </a:lnTo>
                <a:lnTo>
                  <a:pt x="255114" y="1486919"/>
                </a:lnTo>
                <a:lnTo>
                  <a:pt x="287429" y="1517630"/>
                </a:lnTo>
                <a:lnTo>
                  <a:pt x="321282" y="1546672"/>
                </a:lnTo>
                <a:lnTo>
                  <a:pt x="356605" y="1573978"/>
                </a:lnTo>
                <a:lnTo>
                  <a:pt x="393332" y="1599480"/>
                </a:lnTo>
                <a:lnTo>
                  <a:pt x="431397" y="1623114"/>
                </a:lnTo>
                <a:lnTo>
                  <a:pt x="470733" y="1644812"/>
                </a:lnTo>
                <a:lnTo>
                  <a:pt x="511275" y="1664508"/>
                </a:lnTo>
                <a:lnTo>
                  <a:pt x="552955" y="1682136"/>
                </a:lnTo>
                <a:lnTo>
                  <a:pt x="595707" y="1697628"/>
                </a:lnTo>
                <a:lnTo>
                  <a:pt x="639465" y="1710920"/>
                </a:lnTo>
                <a:lnTo>
                  <a:pt x="684162" y="1721943"/>
                </a:lnTo>
                <a:lnTo>
                  <a:pt x="729733" y="1730633"/>
                </a:lnTo>
                <a:lnTo>
                  <a:pt x="776109" y="1736922"/>
                </a:lnTo>
                <a:lnTo>
                  <a:pt x="823226" y="1740744"/>
                </a:lnTo>
                <a:lnTo>
                  <a:pt x="871016" y="1742033"/>
                </a:lnTo>
                <a:lnTo>
                  <a:pt x="918807" y="1740744"/>
                </a:lnTo>
                <a:lnTo>
                  <a:pt x="965923" y="1736922"/>
                </a:lnTo>
                <a:lnTo>
                  <a:pt x="1012300" y="1730633"/>
                </a:lnTo>
                <a:lnTo>
                  <a:pt x="1057870" y="1721943"/>
                </a:lnTo>
                <a:lnTo>
                  <a:pt x="1102568" y="1710920"/>
                </a:lnTo>
                <a:lnTo>
                  <a:pt x="1146325" y="1697628"/>
                </a:lnTo>
                <a:lnTo>
                  <a:pt x="1189078" y="1682136"/>
                </a:lnTo>
                <a:lnTo>
                  <a:pt x="1230758" y="1664508"/>
                </a:lnTo>
                <a:lnTo>
                  <a:pt x="1271299" y="1644812"/>
                </a:lnTo>
                <a:lnTo>
                  <a:pt x="1310636" y="1623114"/>
                </a:lnTo>
                <a:lnTo>
                  <a:pt x="1348701" y="1599480"/>
                </a:lnTo>
                <a:lnTo>
                  <a:pt x="1385428" y="1573978"/>
                </a:lnTo>
                <a:lnTo>
                  <a:pt x="1420751" y="1546672"/>
                </a:lnTo>
                <a:lnTo>
                  <a:pt x="1454603" y="1517630"/>
                </a:lnTo>
                <a:lnTo>
                  <a:pt x="1486919" y="1486919"/>
                </a:lnTo>
                <a:lnTo>
                  <a:pt x="1517630" y="1454603"/>
                </a:lnTo>
                <a:lnTo>
                  <a:pt x="1546672" y="1420751"/>
                </a:lnTo>
                <a:lnTo>
                  <a:pt x="1573978" y="1385428"/>
                </a:lnTo>
                <a:lnTo>
                  <a:pt x="1599480" y="1348701"/>
                </a:lnTo>
                <a:lnTo>
                  <a:pt x="1623114" y="1310636"/>
                </a:lnTo>
                <a:lnTo>
                  <a:pt x="1644812" y="1271299"/>
                </a:lnTo>
                <a:lnTo>
                  <a:pt x="1664508" y="1230758"/>
                </a:lnTo>
                <a:lnTo>
                  <a:pt x="1682136" y="1189078"/>
                </a:lnTo>
                <a:lnTo>
                  <a:pt x="1697628" y="1146325"/>
                </a:lnTo>
                <a:lnTo>
                  <a:pt x="1710920" y="1102568"/>
                </a:lnTo>
                <a:lnTo>
                  <a:pt x="1721943" y="1057870"/>
                </a:lnTo>
                <a:lnTo>
                  <a:pt x="1730633" y="1012300"/>
                </a:lnTo>
                <a:lnTo>
                  <a:pt x="1736922" y="965923"/>
                </a:lnTo>
                <a:lnTo>
                  <a:pt x="1740744" y="918807"/>
                </a:lnTo>
                <a:lnTo>
                  <a:pt x="1742033" y="871016"/>
                </a:lnTo>
                <a:lnTo>
                  <a:pt x="1740744" y="823226"/>
                </a:lnTo>
                <a:lnTo>
                  <a:pt x="1736922" y="776109"/>
                </a:lnTo>
                <a:lnTo>
                  <a:pt x="1730633" y="729733"/>
                </a:lnTo>
                <a:lnTo>
                  <a:pt x="1721943" y="684162"/>
                </a:lnTo>
                <a:lnTo>
                  <a:pt x="1710920" y="639465"/>
                </a:lnTo>
                <a:lnTo>
                  <a:pt x="1697628" y="595707"/>
                </a:lnTo>
                <a:lnTo>
                  <a:pt x="1682136" y="552955"/>
                </a:lnTo>
                <a:lnTo>
                  <a:pt x="1664508" y="511275"/>
                </a:lnTo>
                <a:lnTo>
                  <a:pt x="1644812" y="470733"/>
                </a:lnTo>
                <a:lnTo>
                  <a:pt x="1623114" y="431397"/>
                </a:lnTo>
                <a:lnTo>
                  <a:pt x="1599480" y="393332"/>
                </a:lnTo>
                <a:lnTo>
                  <a:pt x="1573978" y="356605"/>
                </a:lnTo>
                <a:lnTo>
                  <a:pt x="1546672" y="321282"/>
                </a:lnTo>
                <a:lnTo>
                  <a:pt x="1517630" y="287429"/>
                </a:lnTo>
                <a:lnTo>
                  <a:pt x="1486919" y="255114"/>
                </a:lnTo>
                <a:lnTo>
                  <a:pt x="1454603" y="224402"/>
                </a:lnTo>
                <a:lnTo>
                  <a:pt x="1420751" y="195360"/>
                </a:lnTo>
                <a:lnTo>
                  <a:pt x="1385428" y="168055"/>
                </a:lnTo>
                <a:lnTo>
                  <a:pt x="1348701" y="142552"/>
                </a:lnTo>
                <a:lnTo>
                  <a:pt x="1310636" y="118919"/>
                </a:lnTo>
                <a:lnTo>
                  <a:pt x="1271299" y="97221"/>
                </a:lnTo>
                <a:lnTo>
                  <a:pt x="1230758" y="77525"/>
                </a:lnTo>
                <a:lnTo>
                  <a:pt x="1189078" y="59897"/>
                </a:lnTo>
                <a:lnTo>
                  <a:pt x="1146325" y="44404"/>
                </a:lnTo>
                <a:lnTo>
                  <a:pt x="1102568" y="31113"/>
                </a:lnTo>
                <a:lnTo>
                  <a:pt x="1057870" y="20089"/>
                </a:lnTo>
                <a:lnTo>
                  <a:pt x="1012300" y="11400"/>
                </a:lnTo>
                <a:lnTo>
                  <a:pt x="965923" y="5110"/>
                </a:lnTo>
                <a:lnTo>
                  <a:pt x="918807" y="1288"/>
                </a:lnTo>
                <a:lnTo>
                  <a:pt x="871016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13">
            <a:extLst>
              <a:ext uri="{FF2B5EF4-FFF2-40B4-BE49-F238E27FC236}">
                <a16:creationId xmlns:a16="http://schemas.microsoft.com/office/drawing/2014/main" id="{00801995-071D-EB82-DF26-689D84342F9A}"/>
              </a:ext>
            </a:extLst>
          </p:cNvPr>
          <p:cNvSpPr/>
          <p:nvPr userDrawn="1"/>
        </p:nvSpPr>
        <p:spPr>
          <a:xfrm>
            <a:off x="7835316" y="4563116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70" h="801370">
                <a:moveTo>
                  <a:pt x="400672" y="0"/>
                </a:moveTo>
                <a:lnTo>
                  <a:pt x="353945" y="2695"/>
                </a:lnTo>
                <a:lnTo>
                  <a:pt x="308801" y="10581"/>
                </a:lnTo>
                <a:lnTo>
                  <a:pt x="265542" y="23357"/>
                </a:lnTo>
                <a:lnTo>
                  <a:pt x="224466" y="40722"/>
                </a:lnTo>
                <a:lnTo>
                  <a:pt x="185876" y="62376"/>
                </a:lnTo>
                <a:lnTo>
                  <a:pt x="150072" y="88018"/>
                </a:lnTo>
                <a:lnTo>
                  <a:pt x="117354" y="117348"/>
                </a:lnTo>
                <a:lnTo>
                  <a:pt x="88023" y="150064"/>
                </a:lnTo>
                <a:lnTo>
                  <a:pt x="62379" y="185867"/>
                </a:lnTo>
                <a:lnTo>
                  <a:pt x="40724" y="224456"/>
                </a:lnTo>
                <a:lnTo>
                  <a:pt x="23358" y="265531"/>
                </a:lnTo>
                <a:lnTo>
                  <a:pt x="10582" y="308789"/>
                </a:lnTo>
                <a:lnTo>
                  <a:pt x="2695" y="353933"/>
                </a:lnTo>
                <a:lnTo>
                  <a:pt x="0" y="400659"/>
                </a:lnTo>
                <a:lnTo>
                  <a:pt x="2695" y="447386"/>
                </a:lnTo>
                <a:lnTo>
                  <a:pt x="10582" y="492529"/>
                </a:lnTo>
                <a:lnTo>
                  <a:pt x="23358" y="535789"/>
                </a:lnTo>
                <a:lnTo>
                  <a:pt x="40724" y="576864"/>
                </a:lnTo>
                <a:lnTo>
                  <a:pt x="62379" y="615455"/>
                </a:lnTo>
                <a:lnTo>
                  <a:pt x="88023" y="651259"/>
                </a:lnTo>
                <a:lnTo>
                  <a:pt x="117354" y="683977"/>
                </a:lnTo>
                <a:lnTo>
                  <a:pt x="150072" y="713308"/>
                </a:lnTo>
                <a:lnTo>
                  <a:pt x="185876" y="738951"/>
                </a:lnTo>
                <a:lnTo>
                  <a:pt x="224466" y="760607"/>
                </a:lnTo>
                <a:lnTo>
                  <a:pt x="265542" y="777973"/>
                </a:lnTo>
                <a:lnTo>
                  <a:pt x="308801" y="790749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49"/>
                </a:lnTo>
                <a:lnTo>
                  <a:pt x="535802" y="777973"/>
                </a:lnTo>
                <a:lnTo>
                  <a:pt x="576877" y="760607"/>
                </a:lnTo>
                <a:lnTo>
                  <a:pt x="615467" y="738951"/>
                </a:lnTo>
                <a:lnTo>
                  <a:pt x="651272" y="713308"/>
                </a:lnTo>
                <a:lnTo>
                  <a:pt x="683990" y="683977"/>
                </a:lnTo>
                <a:lnTo>
                  <a:pt x="713321" y="651259"/>
                </a:lnTo>
                <a:lnTo>
                  <a:pt x="738964" y="615455"/>
                </a:lnTo>
                <a:lnTo>
                  <a:pt x="760619" y="576864"/>
                </a:lnTo>
                <a:lnTo>
                  <a:pt x="777985" y="535789"/>
                </a:lnTo>
                <a:lnTo>
                  <a:pt x="790762" y="492529"/>
                </a:lnTo>
                <a:lnTo>
                  <a:pt x="798648" y="447386"/>
                </a:lnTo>
                <a:lnTo>
                  <a:pt x="801344" y="400659"/>
                </a:lnTo>
                <a:lnTo>
                  <a:pt x="798648" y="353933"/>
                </a:lnTo>
                <a:lnTo>
                  <a:pt x="790762" y="308789"/>
                </a:lnTo>
                <a:lnTo>
                  <a:pt x="777985" y="265531"/>
                </a:lnTo>
                <a:lnTo>
                  <a:pt x="760619" y="224456"/>
                </a:lnTo>
                <a:lnTo>
                  <a:pt x="738964" y="185867"/>
                </a:lnTo>
                <a:lnTo>
                  <a:pt x="713321" y="150064"/>
                </a:lnTo>
                <a:lnTo>
                  <a:pt x="683990" y="117348"/>
                </a:lnTo>
                <a:lnTo>
                  <a:pt x="651272" y="88018"/>
                </a:lnTo>
                <a:lnTo>
                  <a:pt x="615467" y="62376"/>
                </a:lnTo>
                <a:lnTo>
                  <a:pt x="576877" y="40722"/>
                </a:lnTo>
                <a:lnTo>
                  <a:pt x="535802" y="23357"/>
                </a:lnTo>
                <a:lnTo>
                  <a:pt x="492542" y="10581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14">
            <a:extLst>
              <a:ext uri="{FF2B5EF4-FFF2-40B4-BE49-F238E27FC236}">
                <a16:creationId xmlns:a16="http://schemas.microsoft.com/office/drawing/2014/main" id="{54612AF0-C195-18F6-286F-53229FAFD78A}"/>
              </a:ext>
            </a:extLst>
          </p:cNvPr>
          <p:cNvSpPr/>
          <p:nvPr userDrawn="1"/>
        </p:nvSpPr>
        <p:spPr>
          <a:xfrm>
            <a:off x="1216272" y="5587712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15">
            <a:extLst>
              <a:ext uri="{FF2B5EF4-FFF2-40B4-BE49-F238E27FC236}">
                <a16:creationId xmlns:a16="http://schemas.microsoft.com/office/drawing/2014/main" id="{9EB989F6-8F8A-6411-4898-22ACACB5C706}"/>
              </a:ext>
            </a:extLst>
          </p:cNvPr>
          <p:cNvSpPr/>
          <p:nvPr userDrawn="1"/>
        </p:nvSpPr>
        <p:spPr>
          <a:xfrm>
            <a:off x="1412140" y="6469124"/>
            <a:ext cx="726683" cy="386373"/>
          </a:xfrm>
          <a:custGeom>
            <a:avLst/>
            <a:gdLst/>
            <a:ahLst/>
            <a:cxnLst/>
            <a:rect l="l" t="t" r="r" b="b"/>
            <a:pathLst>
              <a:path w="801369" h="426084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1461" y="425998"/>
                </a:lnTo>
                <a:lnTo>
                  <a:pt x="799883" y="4259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14">
            <a:extLst>
              <a:ext uri="{FF2B5EF4-FFF2-40B4-BE49-F238E27FC236}">
                <a16:creationId xmlns:a16="http://schemas.microsoft.com/office/drawing/2014/main" id="{B08E02AE-D6A1-F3A9-A4EF-A6272DFFC3AA}"/>
              </a:ext>
            </a:extLst>
          </p:cNvPr>
          <p:cNvSpPr/>
          <p:nvPr userDrawn="1"/>
        </p:nvSpPr>
        <p:spPr>
          <a:xfrm>
            <a:off x="6266493" y="1757951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14">
            <a:extLst>
              <a:ext uri="{FF2B5EF4-FFF2-40B4-BE49-F238E27FC236}">
                <a16:creationId xmlns:a16="http://schemas.microsoft.com/office/drawing/2014/main" id="{248CFED0-8A8E-0C79-63FB-90E353EB9801}"/>
              </a:ext>
            </a:extLst>
          </p:cNvPr>
          <p:cNvSpPr/>
          <p:nvPr userDrawn="1"/>
        </p:nvSpPr>
        <p:spPr>
          <a:xfrm>
            <a:off x="5464115" y="1757951"/>
            <a:ext cx="461393" cy="46139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14">
            <a:extLst>
              <a:ext uri="{FF2B5EF4-FFF2-40B4-BE49-F238E27FC236}">
                <a16:creationId xmlns:a16="http://schemas.microsoft.com/office/drawing/2014/main" id="{72F32FFA-2500-3306-8D82-88CE492F38D9}"/>
              </a:ext>
            </a:extLst>
          </p:cNvPr>
          <p:cNvSpPr/>
          <p:nvPr userDrawn="1"/>
        </p:nvSpPr>
        <p:spPr>
          <a:xfrm>
            <a:off x="11179577" y="5951053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837968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E88070B-C0E0-2DFA-FBCE-FF205B25449F}"/>
              </a:ext>
            </a:extLst>
          </p:cNvPr>
          <p:cNvSpPr/>
          <p:nvPr/>
        </p:nvSpPr>
        <p:spPr>
          <a:xfrm>
            <a:off x="0" y="0"/>
            <a:ext cx="12192000" cy="561109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CF4C07C6-A816-4189-5ED3-13CBBC6455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394" y="378791"/>
            <a:ext cx="721415" cy="78339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6CD29F-DD6E-7A48-CCD6-9C6255686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6079" y="16192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B92D793-C5B9-290F-8A51-998397F1596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1200" y="16065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D02AAC-2E9A-297E-5FBA-6A1DB2DEBD44}"/>
              </a:ext>
            </a:extLst>
          </p:cNvPr>
          <p:cNvSpPr/>
          <p:nvPr/>
        </p:nvSpPr>
        <p:spPr>
          <a:xfrm>
            <a:off x="0" y="5611091"/>
            <a:ext cx="12192000" cy="12414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C140E3-2C98-83A6-68C2-F9EA088D0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94037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592DBB-3127-B9DA-A8ED-74612E741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311900"/>
            <a:ext cx="890016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071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Slide With Headline And A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5725" y="2518"/>
            <a:ext cx="11580552" cy="35485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3" b="1">
                <a:solidFill>
                  <a:schemeClr val="tx1"/>
                </a:solidFill>
              </a:defRPr>
            </a:lvl1pPr>
          </a:lstStyle>
          <a:p>
            <a:r>
              <a:rPr lang="en-ZA" dirty="0"/>
              <a:t>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4746" y="540582"/>
            <a:ext cx="11581530" cy="70304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538" b="1" baseline="0">
                <a:solidFill>
                  <a:srgbClr val="12276E"/>
                </a:solidFill>
              </a:defRPr>
            </a:lvl1pPr>
          </a:lstStyle>
          <a:p>
            <a:pPr lvl="0"/>
            <a:r>
              <a:rPr lang="en-ZA" dirty="0"/>
              <a:t>Action Title</a:t>
            </a:r>
            <a:br>
              <a:rPr lang="en-ZA" dirty="0"/>
            </a:br>
            <a:r>
              <a:rPr lang="en-ZA" dirty="0"/>
              <a:t>Arial Bold, 24 </a:t>
            </a:r>
            <a:r>
              <a:rPr lang="en-ZA" dirty="0" err="1"/>
              <a:t>pt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589142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B0B9-AB91-426F-92D7-F2F806F72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1840" y="1825625"/>
            <a:ext cx="5267959" cy="3619212"/>
          </a:xfr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72201" y="1825625"/>
            <a:ext cx="5282789" cy="36192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73507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51839" y="1825625"/>
            <a:ext cx="10703151" cy="385820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38" y="6114954"/>
            <a:ext cx="89040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56451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53189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520" y="365125"/>
            <a:ext cx="6475989" cy="4355493"/>
          </a:xfrm>
        </p:spPr>
        <p:txBody>
          <a:bodyPr anchor="t" anchorCtr="0">
            <a:normAutofit/>
          </a:bodyPr>
          <a:lstStyle>
            <a:lvl1pPr>
              <a:defRPr sz="44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520" y="4862945"/>
            <a:ext cx="6475989" cy="49137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6347" y="6127750"/>
            <a:ext cx="892732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F387DD09-C436-5F8E-8C10-75D345EE965A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65766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B0B9-AB91-426F-92D7-F2F806F72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1840" y="1825625"/>
            <a:ext cx="5267959" cy="3619212"/>
          </a:xfr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72201" y="1825625"/>
            <a:ext cx="5282789" cy="36192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600535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835" y="365125"/>
            <a:ext cx="7232073" cy="4355493"/>
          </a:xfrm>
        </p:spPr>
        <p:txBody>
          <a:bodyPr anchor="t" anchorCtr="0">
            <a:normAutofit/>
          </a:bodyPr>
          <a:lstStyle>
            <a:lvl1pPr algn="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1836" y="4862945"/>
            <a:ext cx="7232072" cy="440575"/>
          </a:xfrm>
        </p:spPr>
        <p:txBody>
          <a:bodyPr anchor="t" anchorCtr="0">
            <a:normAutofit/>
          </a:bodyPr>
          <a:lstStyle>
            <a:lvl1pPr marL="0" indent="0" algn="r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840" y="6127750"/>
            <a:ext cx="88900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FB453B0D-C8DF-80FC-EEDE-35EBA33A3EB9}"/>
              </a:ext>
            </a:extLst>
          </p:cNvPr>
          <p:cNvSpPr/>
          <p:nvPr userDrawn="1"/>
        </p:nvSpPr>
        <p:spPr>
          <a:xfrm>
            <a:off x="108938" y="-20309"/>
            <a:ext cx="3349537" cy="4281787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0A79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12180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365125"/>
            <a:ext cx="6479308" cy="4355493"/>
          </a:xfrm>
        </p:spPr>
        <p:txBody>
          <a:bodyPr anchor="t" anchorCtr="0">
            <a:norm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862945"/>
            <a:ext cx="6479307" cy="50153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127750"/>
            <a:ext cx="89306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BACCD77F-6A9E-76FD-8A3A-2FBB9E8A1FB5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9D62E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7698085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C7B287D-6B69-02D5-6050-7FEFF483FD0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54500" y="62408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EDCDDA5-3A8E-2128-C19E-103FF1AA9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40253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673720-C835-BE5C-5C80-3FD8DB241F01}"/>
              </a:ext>
            </a:extLst>
          </p:cNvPr>
          <p:cNvSpPr/>
          <p:nvPr userDrawn="1"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46D95486-8AE6-9324-FF15-FB06241C299A}"/>
              </a:ext>
            </a:extLst>
          </p:cNvPr>
          <p:cNvSpPr/>
          <p:nvPr userDrawn="1"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EE743A1-10E0-9B86-6AD1-E9B92D62DCE7}"/>
              </a:ext>
            </a:extLst>
          </p:cNvPr>
          <p:cNvSpPr/>
          <p:nvPr userDrawn="1"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E8D99936-C791-EC50-A678-76F12A1EC831}"/>
              </a:ext>
            </a:extLst>
          </p:cNvPr>
          <p:cNvSpPr/>
          <p:nvPr userDrawn="1"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3A7B13D2-0D85-68C1-7844-658E315F6177}"/>
              </a:ext>
            </a:extLst>
          </p:cNvPr>
          <p:cNvSpPr/>
          <p:nvPr userDrawn="1"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01DC0EFC-6C93-BFA0-523B-FE355A921294}"/>
              </a:ext>
            </a:extLst>
          </p:cNvPr>
          <p:cNvSpPr/>
          <p:nvPr userDrawn="1"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34D1CC05-DC4E-8B38-D132-6D0E40FCB802}"/>
              </a:ext>
            </a:extLst>
          </p:cNvPr>
          <p:cNvSpPr/>
          <p:nvPr userDrawn="1"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3439139F-F645-CA8D-5BF1-27B8526442E2}"/>
              </a:ext>
            </a:extLst>
          </p:cNvPr>
          <p:cNvSpPr/>
          <p:nvPr userDrawn="1"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C70859E-DCA5-87BD-ACBD-C84DD8CAD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965953D-FE9D-4CC7-8DA0-75C83642EE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086041" y="43104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5546EC1-A810-BD21-641C-B8D3468803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80B015F-1A06-9783-C83F-0B002E388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841" y="28384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92845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0C06F99-8172-DCE1-7EFE-FF4F105EC10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937730" y="-624301"/>
            <a:ext cx="8682510" cy="856593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D5A134A-9500-7361-A12A-6B671873C9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B2A364B-A6CD-5EAF-DE9C-A1C82F55A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543559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1010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9598" y="0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E02B544-A40A-C2C8-B48C-6F244BD0DFB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84881" y="-715900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A84FDF-B4A9-904D-3D86-7133D1D60D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367280"/>
            <a:ext cx="5360276" cy="3657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D8A16EC-8618-0864-AC9B-EAB51A18B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881" y="1483360"/>
            <a:ext cx="6492239" cy="75596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54023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7467FD7-B03A-A783-6DAD-BFE1F429ED7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249137" y="-881221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C0E5294-F5B4-77CF-A37F-AB562DD1B1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661920"/>
            <a:ext cx="5634596" cy="3078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39FECD-897F-06F3-56D7-FC72D58F9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8881" y="1615440"/>
            <a:ext cx="5709919" cy="90709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39480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-121920" y="-4957"/>
            <a:ext cx="1231976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-121920" y="-389572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6294C19-5D10-1A71-B204-31C0C2A5477A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69931" y="-897413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4356BD6-1C5C-9AA4-5362-F5FAC5EFE6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6EAF454-36EC-DCFE-55B7-5195E0BEF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2546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6A941DA-EEFE-1DF4-35CF-14C8B0F4F25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635760" y="-683147"/>
            <a:ext cx="7573873" cy="721259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18BAC3E-9C24-5719-CA3D-F7A0323717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9A3552-8D5D-6609-37CC-BB86F389B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1" y="77152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4966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7">
            <a:extLst>
              <a:ext uri="{FF2B5EF4-FFF2-40B4-BE49-F238E27FC236}">
                <a16:creationId xmlns:a16="http://schemas.microsoft.com/office/drawing/2014/main" id="{C5CC3C5B-20F5-EDF1-6350-FE204957F054}"/>
              </a:ext>
            </a:extLst>
          </p:cNvPr>
          <p:cNvSpPr/>
          <p:nvPr/>
        </p:nvSpPr>
        <p:spPr>
          <a:xfrm>
            <a:off x="15163" y="2303"/>
            <a:ext cx="12271379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226669" y="6831254"/>
                </a:moveTo>
                <a:lnTo>
                  <a:pt x="223977" y="6784530"/>
                </a:lnTo>
                <a:lnTo>
                  <a:pt x="216090" y="6739382"/>
                </a:lnTo>
                <a:lnTo>
                  <a:pt x="203314" y="6696126"/>
                </a:lnTo>
                <a:lnTo>
                  <a:pt x="185940" y="6655054"/>
                </a:lnTo>
                <a:lnTo>
                  <a:pt x="164287" y="6616459"/>
                </a:lnTo>
                <a:lnTo>
                  <a:pt x="138645" y="6580657"/>
                </a:lnTo>
                <a:lnTo>
                  <a:pt x="109308" y="6547929"/>
                </a:lnTo>
                <a:lnTo>
                  <a:pt x="76593" y="6518605"/>
                </a:lnTo>
                <a:lnTo>
                  <a:pt x="40792" y="6492964"/>
                </a:lnTo>
                <a:lnTo>
                  <a:pt x="2197" y="6471310"/>
                </a:lnTo>
                <a:lnTo>
                  <a:pt x="0" y="6470370"/>
                </a:lnTo>
                <a:lnTo>
                  <a:pt x="0" y="7192124"/>
                </a:lnTo>
                <a:lnTo>
                  <a:pt x="40792" y="7169531"/>
                </a:lnTo>
                <a:lnTo>
                  <a:pt x="76593" y="7143890"/>
                </a:lnTo>
                <a:lnTo>
                  <a:pt x="109308" y="7114565"/>
                </a:lnTo>
                <a:lnTo>
                  <a:pt x="138645" y="7081837"/>
                </a:lnTo>
                <a:lnTo>
                  <a:pt x="164287" y="7046036"/>
                </a:lnTo>
                <a:lnTo>
                  <a:pt x="185940" y="7007453"/>
                </a:lnTo>
                <a:lnTo>
                  <a:pt x="203314" y="6966382"/>
                </a:lnTo>
                <a:lnTo>
                  <a:pt x="216090" y="6923125"/>
                </a:lnTo>
                <a:lnTo>
                  <a:pt x="223977" y="6877977"/>
                </a:lnTo>
                <a:lnTo>
                  <a:pt x="226669" y="6831254"/>
                </a:lnTo>
                <a:close/>
              </a:path>
              <a:path w="13428344" h="7560309">
                <a:moveTo>
                  <a:pt x="570217" y="5353024"/>
                </a:moveTo>
                <a:lnTo>
                  <a:pt x="568934" y="5305234"/>
                </a:lnTo>
                <a:lnTo>
                  <a:pt x="565111" y="5258117"/>
                </a:lnTo>
                <a:lnTo>
                  <a:pt x="558812" y="5211737"/>
                </a:lnTo>
                <a:lnTo>
                  <a:pt x="550125" y="5166169"/>
                </a:lnTo>
                <a:lnTo>
                  <a:pt x="539102" y="5121478"/>
                </a:lnTo>
                <a:lnTo>
                  <a:pt x="525818" y="5077714"/>
                </a:lnTo>
                <a:lnTo>
                  <a:pt x="510324" y="5034966"/>
                </a:lnTo>
                <a:lnTo>
                  <a:pt x="492696" y="4993284"/>
                </a:lnTo>
                <a:lnTo>
                  <a:pt x="472998" y="4952746"/>
                </a:lnTo>
                <a:lnTo>
                  <a:pt x="451294" y="4913401"/>
                </a:lnTo>
                <a:lnTo>
                  <a:pt x="427659" y="4875339"/>
                </a:lnTo>
                <a:lnTo>
                  <a:pt x="402158" y="4838611"/>
                </a:lnTo>
                <a:lnTo>
                  <a:pt x="374853" y="4803292"/>
                </a:lnTo>
                <a:lnTo>
                  <a:pt x="345821" y="4769434"/>
                </a:lnTo>
                <a:lnTo>
                  <a:pt x="315099" y="4737125"/>
                </a:lnTo>
                <a:lnTo>
                  <a:pt x="282790" y="4706417"/>
                </a:lnTo>
                <a:lnTo>
                  <a:pt x="248932" y="4677372"/>
                </a:lnTo>
                <a:lnTo>
                  <a:pt x="213614" y="4650067"/>
                </a:lnTo>
                <a:lnTo>
                  <a:pt x="176885" y="4624565"/>
                </a:lnTo>
                <a:lnTo>
                  <a:pt x="138823" y="4600930"/>
                </a:lnTo>
                <a:lnTo>
                  <a:pt x="99479" y="4579226"/>
                </a:lnTo>
                <a:lnTo>
                  <a:pt x="58940" y="4559541"/>
                </a:lnTo>
                <a:lnTo>
                  <a:pt x="17259" y="4541913"/>
                </a:lnTo>
                <a:lnTo>
                  <a:pt x="0" y="4535652"/>
                </a:lnTo>
                <a:lnTo>
                  <a:pt x="0" y="6170409"/>
                </a:lnTo>
                <a:lnTo>
                  <a:pt x="58940" y="6146520"/>
                </a:lnTo>
                <a:lnTo>
                  <a:pt x="99479" y="6126823"/>
                </a:lnTo>
                <a:lnTo>
                  <a:pt x="138823" y="6105118"/>
                </a:lnTo>
                <a:lnTo>
                  <a:pt x="176885" y="6081496"/>
                </a:lnTo>
                <a:lnTo>
                  <a:pt x="213614" y="6055982"/>
                </a:lnTo>
                <a:lnTo>
                  <a:pt x="248932" y="6028677"/>
                </a:lnTo>
                <a:lnTo>
                  <a:pt x="282790" y="5999645"/>
                </a:lnTo>
                <a:lnTo>
                  <a:pt x="315099" y="5968924"/>
                </a:lnTo>
                <a:lnTo>
                  <a:pt x="345821" y="5936615"/>
                </a:lnTo>
                <a:lnTo>
                  <a:pt x="374853" y="5902757"/>
                </a:lnTo>
                <a:lnTo>
                  <a:pt x="402158" y="5867438"/>
                </a:lnTo>
                <a:lnTo>
                  <a:pt x="427659" y="5830709"/>
                </a:lnTo>
                <a:lnTo>
                  <a:pt x="451294" y="5792648"/>
                </a:lnTo>
                <a:lnTo>
                  <a:pt x="472998" y="5753316"/>
                </a:lnTo>
                <a:lnTo>
                  <a:pt x="492696" y="5712765"/>
                </a:lnTo>
                <a:lnTo>
                  <a:pt x="510324" y="5671083"/>
                </a:lnTo>
                <a:lnTo>
                  <a:pt x="525818" y="5628335"/>
                </a:lnTo>
                <a:lnTo>
                  <a:pt x="539102" y="5584583"/>
                </a:lnTo>
                <a:lnTo>
                  <a:pt x="550125" y="5539879"/>
                </a:lnTo>
                <a:lnTo>
                  <a:pt x="558812" y="5494312"/>
                </a:lnTo>
                <a:lnTo>
                  <a:pt x="565111" y="5447931"/>
                </a:lnTo>
                <a:lnTo>
                  <a:pt x="568934" y="5400814"/>
                </a:lnTo>
                <a:lnTo>
                  <a:pt x="570217" y="5353024"/>
                </a:lnTo>
                <a:close/>
              </a:path>
              <a:path w="13428344" h="7560309">
                <a:moveTo>
                  <a:pt x="2835325" y="6635394"/>
                </a:moveTo>
                <a:lnTo>
                  <a:pt x="2834322" y="6586918"/>
                </a:lnTo>
                <a:lnTo>
                  <a:pt x="2831325" y="6538963"/>
                </a:lnTo>
                <a:lnTo>
                  <a:pt x="2826397" y="6491567"/>
                </a:lnTo>
                <a:lnTo>
                  <a:pt x="2819552" y="6444755"/>
                </a:lnTo>
                <a:lnTo>
                  <a:pt x="2810840" y="6398565"/>
                </a:lnTo>
                <a:lnTo>
                  <a:pt x="2800312" y="6353061"/>
                </a:lnTo>
                <a:lnTo>
                  <a:pt x="2787980" y="6308268"/>
                </a:lnTo>
                <a:lnTo>
                  <a:pt x="2773921" y="6264224"/>
                </a:lnTo>
                <a:lnTo>
                  <a:pt x="2758148" y="6220968"/>
                </a:lnTo>
                <a:lnTo>
                  <a:pt x="2740698" y="6178550"/>
                </a:lnTo>
                <a:lnTo>
                  <a:pt x="2721635" y="6136995"/>
                </a:lnTo>
                <a:lnTo>
                  <a:pt x="2700985" y="6096355"/>
                </a:lnTo>
                <a:lnTo>
                  <a:pt x="2678773" y="6056668"/>
                </a:lnTo>
                <a:lnTo>
                  <a:pt x="2655062" y="6017971"/>
                </a:lnTo>
                <a:lnTo>
                  <a:pt x="2629890" y="5980303"/>
                </a:lnTo>
                <a:lnTo>
                  <a:pt x="2603284" y="5943701"/>
                </a:lnTo>
                <a:lnTo>
                  <a:pt x="2575293" y="5908218"/>
                </a:lnTo>
                <a:lnTo>
                  <a:pt x="2545943" y="5873877"/>
                </a:lnTo>
                <a:lnTo>
                  <a:pt x="2515298" y="5840730"/>
                </a:lnTo>
                <a:lnTo>
                  <a:pt x="2483370" y="5808802"/>
                </a:lnTo>
                <a:lnTo>
                  <a:pt x="2450223" y="5778157"/>
                </a:lnTo>
                <a:lnTo>
                  <a:pt x="2415883" y="5748807"/>
                </a:lnTo>
                <a:lnTo>
                  <a:pt x="2380399" y="5720816"/>
                </a:lnTo>
                <a:lnTo>
                  <a:pt x="2343797" y="5694210"/>
                </a:lnTo>
                <a:lnTo>
                  <a:pt x="2306129" y="5669026"/>
                </a:lnTo>
                <a:lnTo>
                  <a:pt x="2267432" y="5645315"/>
                </a:lnTo>
                <a:lnTo>
                  <a:pt x="2227732" y="5623115"/>
                </a:lnTo>
                <a:lnTo>
                  <a:pt x="2187092" y="5602465"/>
                </a:lnTo>
                <a:lnTo>
                  <a:pt x="2145550" y="5583390"/>
                </a:lnTo>
                <a:lnTo>
                  <a:pt x="2103120" y="5565953"/>
                </a:lnTo>
                <a:lnTo>
                  <a:pt x="2059876" y="5550179"/>
                </a:lnTo>
                <a:lnTo>
                  <a:pt x="2015832" y="5536108"/>
                </a:lnTo>
                <a:lnTo>
                  <a:pt x="1971040" y="5523789"/>
                </a:lnTo>
                <a:lnTo>
                  <a:pt x="1925523" y="5513260"/>
                </a:lnTo>
                <a:lnTo>
                  <a:pt x="1879346" y="5504548"/>
                </a:lnTo>
                <a:lnTo>
                  <a:pt x="1832533" y="5497703"/>
                </a:lnTo>
                <a:lnTo>
                  <a:pt x="1785137" y="5492762"/>
                </a:lnTo>
                <a:lnTo>
                  <a:pt x="1737169" y="5489778"/>
                </a:lnTo>
                <a:lnTo>
                  <a:pt x="1688706" y="5488775"/>
                </a:lnTo>
                <a:lnTo>
                  <a:pt x="1640243" y="5489778"/>
                </a:lnTo>
                <a:lnTo>
                  <a:pt x="1592275" y="5492762"/>
                </a:lnTo>
                <a:lnTo>
                  <a:pt x="1544878" y="5497703"/>
                </a:lnTo>
                <a:lnTo>
                  <a:pt x="1498066" y="5504548"/>
                </a:lnTo>
                <a:lnTo>
                  <a:pt x="1451889" y="5513260"/>
                </a:lnTo>
                <a:lnTo>
                  <a:pt x="1406372" y="5523789"/>
                </a:lnTo>
                <a:lnTo>
                  <a:pt x="1361579" y="5536108"/>
                </a:lnTo>
                <a:lnTo>
                  <a:pt x="1317536" y="5550179"/>
                </a:lnTo>
                <a:lnTo>
                  <a:pt x="1274292" y="5565953"/>
                </a:lnTo>
                <a:lnTo>
                  <a:pt x="1231861" y="5583390"/>
                </a:lnTo>
                <a:lnTo>
                  <a:pt x="1190320" y="5602465"/>
                </a:lnTo>
                <a:lnTo>
                  <a:pt x="1149680" y="5623115"/>
                </a:lnTo>
                <a:lnTo>
                  <a:pt x="1109980" y="5645315"/>
                </a:lnTo>
                <a:lnTo>
                  <a:pt x="1071283" y="5669026"/>
                </a:lnTo>
                <a:lnTo>
                  <a:pt x="1033614" y="5694210"/>
                </a:lnTo>
                <a:lnTo>
                  <a:pt x="997013" y="5720816"/>
                </a:lnTo>
                <a:lnTo>
                  <a:pt x="961529" y="5748807"/>
                </a:lnTo>
                <a:lnTo>
                  <a:pt x="927188" y="5778157"/>
                </a:lnTo>
                <a:lnTo>
                  <a:pt x="894041" y="5808802"/>
                </a:lnTo>
                <a:lnTo>
                  <a:pt x="862114" y="5840730"/>
                </a:lnTo>
                <a:lnTo>
                  <a:pt x="831469" y="5873877"/>
                </a:lnTo>
                <a:lnTo>
                  <a:pt x="802119" y="5908218"/>
                </a:lnTo>
                <a:lnTo>
                  <a:pt x="774128" y="5943701"/>
                </a:lnTo>
                <a:lnTo>
                  <a:pt x="747522" y="5980303"/>
                </a:lnTo>
                <a:lnTo>
                  <a:pt x="722350" y="6017971"/>
                </a:lnTo>
                <a:lnTo>
                  <a:pt x="698639" y="6056668"/>
                </a:lnTo>
                <a:lnTo>
                  <a:pt x="676427" y="6096355"/>
                </a:lnTo>
                <a:lnTo>
                  <a:pt x="655777" y="6136995"/>
                </a:lnTo>
                <a:lnTo>
                  <a:pt x="636714" y="6178550"/>
                </a:lnTo>
                <a:lnTo>
                  <a:pt x="619264" y="6220968"/>
                </a:lnTo>
                <a:lnTo>
                  <a:pt x="603491" y="6264224"/>
                </a:lnTo>
                <a:lnTo>
                  <a:pt x="589432" y="6308268"/>
                </a:lnTo>
                <a:lnTo>
                  <a:pt x="577100" y="6353061"/>
                </a:lnTo>
                <a:lnTo>
                  <a:pt x="566572" y="6398565"/>
                </a:lnTo>
                <a:lnTo>
                  <a:pt x="557860" y="6444755"/>
                </a:lnTo>
                <a:lnTo>
                  <a:pt x="551014" y="6491567"/>
                </a:lnTo>
                <a:lnTo>
                  <a:pt x="546087" y="6538963"/>
                </a:lnTo>
                <a:lnTo>
                  <a:pt x="543090" y="6586918"/>
                </a:lnTo>
                <a:lnTo>
                  <a:pt x="542086" y="6635394"/>
                </a:lnTo>
                <a:lnTo>
                  <a:pt x="543090" y="6683857"/>
                </a:lnTo>
                <a:lnTo>
                  <a:pt x="546087" y="6731813"/>
                </a:lnTo>
                <a:lnTo>
                  <a:pt x="551014" y="6779222"/>
                </a:lnTo>
                <a:lnTo>
                  <a:pt x="557860" y="6826034"/>
                </a:lnTo>
                <a:lnTo>
                  <a:pt x="566572" y="6872211"/>
                </a:lnTo>
                <a:lnTo>
                  <a:pt x="577100" y="6917715"/>
                </a:lnTo>
                <a:lnTo>
                  <a:pt x="589432" y="6962508"/>
                </a:lnTo>
                <a:lnTo>
                  <a:pt x="603491" y="7006552"/>
                </a:lnTo>
                <a:lnTo>
                  <a:pt x="619264" y="7049808"/>
                </a:lnTo>
                <a:lnTo>
                  <a:pt x="636714" y="7092226"/>
                </a:lnTo>
                <a:lnTo>
                  <a:pt x="655777" y="7133780"/>
                </a:lnTo>
                <a:lnTo>
                  <a:pt x="676427" y="7174420"/>
                </a:lnTo>
                <a:lnTo>
                  <a:pt x="698639" y="7214108"/>
                </a:lnTo>
                <a:lnTo>
                  <a:pt x="722350" y="7252805"/>
                </a:lnTo>
                <a:lnTo>
                  <a:pt x="747522" y="7290473"/>
                </a:lnTo>
                <a:lnTo>
                  <a:pt x="774128" y="7327074"/>
                </a:lnTo>
                <a:lnTo>
                  <a:pt x="802119" y="7362571"/>
                </a:lnTo>
                <a:lnTo>
                  <a:pt x="831469" y="7396912"/>
                </a:lnTo>
                <a:lnTo>
                  <a:pt x="862114" y="7430059"/>
                </a:lnTo>
                <a:lnTo>
                  <a:pt x="894041" y="7461974"/>
                </a:lnTo>
                <a:lnTo>
                  <a:pt x="927188" y="7492632"/>
                </a:lnTo>
                <a:lnTo>
                  <a:pt x="961529" y="7521969"/>
                </a:lnTo>
                <a:lnTo>
                  <a:pt x="997013" y="7549972"/>
                </a:lnTo>
                <a:lnTo>
                  <a:pt x="1010831" y="7560005"/>
                </a:lnTo>
                <a:lnTo>
                  <a:pt x="2366581" y="7560005"/>
                </a:lnTo>
                <a:lnTo>
                  <a:pt x="2415883" y="7521969"/>
                </a:lnTo>
                <a:lnTo>
                  <a:pt x="2450223" y="7492632"/>
                </a:lnTo>
                <a:lnTo>
                  <a:pt x="2483370" y="7461974"/>
                </a:lnTo>
                <a:lnTo>
                  <a:pt x="2515298" y="7430059"/>
                </a:lnTo>
                <a:lnTo>
                  <a:pt x="2545943" y="7396912"/>
                </a:lnTo>
                <a:lnTo>
                  <a:pt x="2575293" y="7362571"/>
                </a:lnTo>
                <a:lnTo>
                  <a:pt x="2603284" y="7327074"/>
                </a:lnTo>
                <a:lnTo>
                  <a:pt x="2629890" y="7290473"/>
                </a:lnTo>
                <a:lnTo>
                  <a:pt x="2655062" y="7252805"/>
                </a:lnTo>
                <a:lnTo>
                  <a:pt x="2678773" y="7214108"/>
                </a:lnTo>
                <a:lnTo>
                  <a:pt x="2700985" y="7174420"/>
                </a:lnTo>
                <a:lnTo>
                  <a:pt x="2721635" y="7133780"/>
                </a:lnTo>
                <a:lnTo>
                  <a:pt x="2740698" y="7092226"/>
                </a:lnTo>
                <a:lnTo>
                  <a:pt x="2758148" y="7049808"/>
                </a:lnTo>
                <a:lnTo>
                  <a:pt x="2773921" y="7006552"/>
                </a:lnTo>
                <a:lnTo>
                  <a:pt x="2787980" y="6962508"/>
                </a:lnTo>
                <a:lnTo>
                  <a:pt x="2800312" y="6917715"/>
                </a:lnTo>
                <a:lnTo>
                  <a:pt x="2810840" y="6872211"/>
                </a:lnTo>
                <a:lnTo>
                  <a:pt x="2819552" y="6826034"/>
                </a:lnTo>
                <a:lnTo>
                  <a:pt x="2826397" y="6779222"/>
                </a:lnTo>
                <a:lnTo>
                  <a:pt x="2831325" y="6731813"/>
                </a:lnTo>
                <a:lnTo>
                  <a:pt x="2834322" y="6683857"/>
                </a:lnTo>
                <a:lnTo>
                  <a:pt x="2835325" y="6635394"/>
                </a:lnTo>
                <a:close/>
              </a:path>
              <a:path w="13428344" h="7560309">
                <a:moveTo>
                  <a:pt x="2872587" y="5132197"/>
                </a:moveTo>
                <a:lnTo>
                  <a:pt x="2869895" y="5085473"/>
                </a:lnTo>
                <a:lnTo>
                  <a:pt x="2862008" y="5040338"/>
                </a:lnTo>
                <a:lnTo>
                  <a:pt x="2849232" y="4997069"/>
                </a:lnTo>
                <a:lnTo>
                  <a:pt x="2831858" y="4955997"/>
                </a:lnTo>
                <a:lnTo>
                  <a:pt x="2810205" y="4917402"/>
                </a:lnTo>
                <a:lnTo>
                  <a:pt x="2784564" y="4881600"/>
                </a:lnTo>
                <a:lnTo>
                  <a:pt x="2755239" y="4848885"/>
                </a:lnTo>
                <a:lnTo>
                  <a:pt x="2722511" y="4819548"/>
                </a:lnTo>
                <a:lnTo>
                  <a:pt x="2686710" y="4793907"/>
                </a:lnTo>
                <a:lnTo>
                  <a:pt x="2648115" y="4772253"/>
                </a:lnTo>
                <a:lnTo>
                  <a:pt x="2607043" y="4754892"/>
                </a:lnTo>
                <a:lnTo>
                  <a:pt x="2563787" y="4742116"/>
                </a:lnTo>
                <a:lnTo>
                  <a:pt x="2518638" y="4734230"/>
                </a:lnTo>
                <a:lnTo>
                  <a:pt x="2471915" y="4731524"/>
                </a:lnTo>
                <a:lnTo>
                  <a:pt x="2425192" y="4734230"/>
                </a:lnTo>
                <a:lnTo>
                  <a:pt x="2380043" y="4742116"/>
                </a:lnTo>
                <a:lnTo>
                  <a:pt x="2336787" y="4754892"/>
                </a:lnTo>
                <a:lnTo>
                  <a:pt x="2295715" y="4772253"/>
                </a:lnTo>
                <a:lnTo>
                  <a:pt x="2257120" y="4793907"/>
                </a:lnTo>
                <a:lnTo>
                  <a:pt x="2221319" y="4819548"/>
                </a:lnTo>
                <a:lnTo>
                  <a:pt x="2188603" y="4848885"/>
                </a:lnTo>
                <a:lnTo>
                  <a:pt x="2159266" y="4881600"/>
                </a:lnTo>
                <a:lnTo>
                  <a:pt x="2133625" y="4917402"/>
                </a:lnTo>
                <a:lnTo>
                  <a:pt x="2111972" y="4955997"/>
                </a:lnTo>
                <a:lnTo>
                  <a:pt x="2094598" y="4997069"/>
                </a:lnTo>
                <a:lnTo>
                  <a:pt x="2081822" y="5040338"/>
                </a:lnTo>
                <a:lnTo>
                  <a:pt x="2073935" y="5085473"/>
                </a:lnTo>
                <a:lnTo>
                  <a:pt x="2071243" y="5132197"/>
                </a:lnTo>
                <a:lnTo>
                  <a:pt x="2073935" y="5178933"/>
                </a:lnTo>
                <a:lnTo>
                  <a:pt x="2081822" y="5224069"/>
                </a:lnTo>
                <a:lnTo>
                  <a:pt x="2094598" y="5267337"/>
                </a:lnTo>
                <a:lnTo>
                  <a:pt x="2111972" y="5308409"/>
                </a:lnTo>
                <a:lnTo>
                  <a:pt x="2133625" y="5346992"/>
                </a:lnTo>
                <a:lnTo>
                  <a:pt x="2159266" y="5382793"/>
                </a:lnTo>
                <a:lnTo>
                  <a:pt x="2188603" y="5415508"/>
                </a:lnTo>
                <a:lnTo>
                  <a:pt x="2221319" y="5444845"/>
                </a:lnTo>
                <a:lnTo>
                  <a:pt x="2257120" y="5470487"/>
                </a:lnTo>
                <a:lnTo>
                  <a:pt x="2295715" y="5492140"/>
                </a:lnTo>
                <a:lnTo>
                  <a:pt x="2336787" y="5509501"/>
                </a:lnTo>
                <a:lnTo>
                  <a:pt x="2380043" y="5522277"/>
                </a:lnTo>
                <a:lnTo>
                  <a:pt x="2425192" y="5530164"/>
                </a:lnTo>
                <a:lnTo>
                  <a:pt x="2471915" y="5532856"/>
                </a:lnTo>
                <a:lnTo>
                  <a:pt x="2518638" y="5530164"/>
                </a:lnTo>
                <a:lnTo>
                  <a:pt x="2563787" y="5522277"/>
                </a:lnTo>
                <a:lnTo>
                  <a:pt x="2607043" y="5509501"/>
                </a:lnTo>
                <a:lnTo>
                  <a:pt x="2648115" y="5492140"/>
                </a:lnTo>
                <a:lnTo>
                  <a:pt x="2686710" y="5470487"/>
                </a:lnTo>
                <a:lnTo>
                  <a:pt x="2722511" y="5444845"/>
                </a:lnTo>
                <a:lnTo>
                  <a:pt x="2755239" y="5415508"/>
                </a:lnTo>
                <a:lnTo>
                  <a:pt x="2784564" y="5382793"/>
                </a:lnTo>
                <a:lnTo>
                  <a:pt x="2810205" y="5346992"/>
                </a:lnTo>
                <a:lnTo>
                  <a:pt x="2831858" y="5308409"/>
                </a:lnTo>
                <a:lnTo>
                  <a:pt x="2849232" y="5267337"/>
                </a:lnTo>
                <a:lnTo>
                  <a:pt x="2862008" y="5224069"/>
                </a:lnTo>
                <a:lnTo>
                  <a:pt x="2869895" y="5178933"/>
                </a:lnTo>
                <a:lnTo>
                  <a:pt x="2872587" y="5132197"/>
                </a:lnTo>
                <a:close/>
              </a:path>
              <a:path w="13428344" h="7560309">
                <a:moveTo>
                  <a:pt x="3311982" y="5582005"/>
                </a:moveTo>
                <a:lnTo>
                  <a:pt x="3307931" y="5536819"/>
                </a:lnTo>
                <a:lnTo>
                  <a:pt x="3296259" y="5494274"/>
                </a:lnTo>
                <a:lnTo>
                  <a:pt x="3277666" y="5455107"/>
                </a:lnTo>
                <a:lnTo>
                  <a:pt x="3252863" y="5420017"/>
                </a:lnTo>
                <a:lnTo>
                  <a:pt x="3222561" y="5389715"/>
                </a:lnTo>
                <a:lnTo>
                  <a:pt x="3187471" y="5364912"/>
                </a:lnTo>
                <a:lnTo>
                  <a:pt x="3148292" y="5346319"/>
                </a:lnTo>
                <a:lnTo>
                  <a:pt x="3105759" y="5334635"/>
                </a:lnTo>
                <a:lnTo>
                  <a:pt x="3060560" y="5330583"/>
                </a:lnTo>
                <a:lnTo>
                  <a:pt x="3015373" y="5334635"/>
                </a:lnTo>
                <a:lnTo>
                  <a:pt x="2972828" y="5346319"/>
                </a:lnTo>
                <a:lnTo>
                  <a:pt x="2933662" y="5364912"/>
                </a:lnTo>
                <a:lnTo>
                  <a:pt x="2898571" y="5389715"/>
                </a:lnTo>
                <a:lnTo>
                  <a:pt x="2868269" y="5420017"/>
                </a:lnTo>
                <a:lnTo>
                  <a:pt x="2843453" y="5455107"/>
                </a:lnTo>
                <a:lnTo>
                  <a:pt x="2824861" y="5494274"/>
                </a:lnTo>
                <a:lnTo>
                  <a:pt x="2813177" y="5536819"/>
                </a:lnTo>
                <a:lnTo>
                  <a:pt x="2809125" y="5582005"/>
                </a:lnTo>
                <a:lnTo>
                  <a:pt x="2813177" y="5627205"/>
                </a:lnTo>
                <a:lnTo>
                  <a:pt x="2824861" y="5669737"/>
                </a:lnTo>
                <a:lnTo>
                  <a:pt x="2843453" y="5708904"/>
                </a:lnTo>
                <a:lnTo>
                  <a:pt x="2868269" y="5744007"/>
                </a:lnTo>
                <a:lnTo>
                  <a:pt x="2898571" y="5774309"/>
                </a:lnTo>
                <a:lnTo>
                  <a:pt x="2933662" y="5799112"/>
                </a:lnTo>
                <a:lnTo>
                  <a:pt x="2972828" y="5817705"/>
                </a:lnTo>
                <a:lnTo>
                  <a:pt x="3015373" y="5829389"/>
                </a:lnTo>
                <a:lnTo>
                  <a:pt x="3060560" y="5833440"/>
                </a:lnTo>
                <a:lnTo>
                  <a:pt x="3105759" y="5829389"/>
                </a:lnTo>
                <a:lnTo>
                  <a:pt x="3148292" y="5817705"/>
                </a:lnTo>
                <a:lnTo>
                  <a:pt x="3187471" y="5799112"/>
                </a:lnTo>
                <a:lnTo>
                  <a:pt x="3222561" y="5774309"/>
                </a:lnTo>
                <a:lnTo>
                  <a:pt x="3252863" y="5744007"/>
                </a:lnTo>
                <a:lnTo>
                  <a:pt x="3277666" y="5708904"/>
                </a:lnTo>
                <a:lnTo>
                  <a:pt x="3296259" y="5669737"/>
                </a:lnTo>
                <a:lnTo>
                  <a:pt x="3307931" y="5627205"/>
                </a:lnTo>
                <a:lnTo>
                  <a:pt x="3311982" y="5582005"/>
                </a:lnTo>
                <a:close/>
              </a:path>
              <a:path w="13428344" h="7560309">
                <a:moveTo>
                  <a:pt x="6244856" y="2232571"/>
                </a:moveTo>
                <a:lnTo>
                  <a:pt x="6240805" y="2187384"/>
                </a:lnTo>
                <a:lnTo>
                  <a:pt x="6229121" y="2144852"/>
                </a:lnTo>
                <a:lnTo>
                  <a:pt x="6210528" y="2105685"/>
                </a:lnTo>
                <a:lnTo>
                  <a:pt x="6185725" y="2070595"/>
                </a:lnTo>
                <a:lnTo>
                  <a:pt x="6155423" y="2040280"/>
                </a:lnTo>
                <a:lnTo>
                  <a:pt x="6120320" y="2015477"/>
                </a:lnTo>
                <a:lnTo>
                  <a:pt x="6081153" y="1996884"/>
                </a:lnTo>
                <a:lnTo>
                  <a:pt x="6038621" y="1985200"/>
                </a:lnTo>
                <a:lnTo>
                  <a:pt x="5993422" y="1981149"/>
                </a:lnTo>
                <a:lnTo>
                  <a:pt x="5948223" y="1985200"/>
                </a:lnTo>
                <a:lnTo>
                  <a:pt x="5905690" y="1996884"/>
                </a:lnTo>
                <a:lnTo>
                  <a:pt x="5866523" y="2015477"/>
                </a:lnTo>
                <a:lnTo>
                  <a:pt x="5831433" y="2040280"/>
                </a:lnTo>
                <a:lnTo>
                  <a:pt x="5801118" y="2070595"/>
                </a:lnTo>
                <a:lnTo>
                  <a:pt x="5776315" y="2105685"/>
                </a:lnTo>
                <a:lnTo>
                  <a:pt x="5757723" y="2144852"/>
                </a:lnTo>
                <a:lnTo>
                  <a:pt x="5746039" y="2187384"/>
                </a:lnTo>
                <a:lnTo>
                  <a:pt x="5741987" y="2232571"/>
                </a:lnTo>
                <a:lnTo>
                  <a:pt x="5746039" y="2277770"/>
                </a:lnTo>
                <a:lnTo>
                  <a:pt x="5757723" y="2320302"/>
                </a:lnTo>
                <a:lnTo>
                  <a:pt x="5776315" y="2359482"/>
                </a:lnTo>
                <a:lnTo>
                  <a:pt x="5801118" y="2394572"/>
                </a:lnTo>
                <a:lnTo>
                  <a:pt x="5831433" y="2424874"/>
                </a:lnTo>
                <a:lnTo>
                  <a:pt x="5866523" y="2449677"/>
                </a:lnTo>
                <a:lnTo>
                  <a:pt x="5905690" y="2468283"/>
                </a:lnTo>
                <a:lnTo>
                  <a:pt x="5948223" y="2479954"/>
                </a:lnTo>
                <a:lnTo>
                  <a:pt x="5993422" y="2484005"/>
                </a:lnTo>
                <a:lnTo>
                  <a:pt x="6038621" y="2479954"/>
                </a:lnTo>
                <a:lnTo>
                  <a:pt x="6081153" y="2468283"/>
                </a:lnTo>
                <a:lnTo>
                  <a:pt x="6120320" y="2449677"/>
                </a:lnTo>
                <a:lnTo>
                  <a:pt x="6155423" y="2424874"/>
                </a:lnTo>
                <a:lnTo>
                  <a:pt x="6185725" y="2394572"/>
                </a:lnTo>
                <a:lnTo>
                  <a:pt x="6210528" y="2359482"/>
                </a:lnTo>
                <a:lnTo>
                  <a:pt x="6229121" y="2320302"/>
                </a:lnTo>
                <a:lnTo>
                  <a:pt x="6240805" y="2277770"/>
                </a:lnTo>
                <a:lnTo>
                  <a:pt x="6244856" y="2232571"/>
                </a:lnTo>
                <a:close/>
              </a:path>
              <a:path w="13428344" h="7560309">
                <a:moveTo>
                  <a:pt x="6511226" y="750633"/>
                </a:moveTo>
                <a:lnTo>
                  <a:pt x="6510223" y="702170"/>
                </a:lnTo>
                <a:lnTo>
                  <a:pt x="6507239" y="654202"/>
                </a:lnTo>
                <a:lnTo>
                  <a:pt x="6502298" y="606806"/>
                </a:lnTo>
                <a:lnTo>
                  <a:pt x="6495453" y="559993"/>
                </a:lnTo>
                <a:lnTo>
                  <a:pt x="6486741" y="513816"/>
                </a:lnTo>
                <a:lnTo>
                  <a:pt x="6476212" y="468299"/>
                </a:lnTo>
                <a:lnTo>
                  <a:pt x="6463893" y="423506"/>
                </a:lnTo>
                <a:lnTo>
                  <a:pt x="6449822" y="379463"/>
                </a:lnTo>
                <a:lnTo>
                  <a:pt x="6434048" y="336219"/>
                </a:lnTo>
                <a:lnTo>
                  <a:pt x="6416611" y="293789"/>
                </a:lnTo>
                <a:lnTo>
                  <a:pt x="6397536" y="252247"/>
                </a:lnTo>
                <a:lnTo>
                  <a:pt x="6376886" y="211607"/>
                </a:lnTo>
                <a:lnTo>
                  <a:pt x="6354686" y="171907"/>
                </a:lnTo>
                <a:lnTo>
                  <a:pt x="6330975" y="133210"/>
                </a:lnTo>
                <a:lnTo>
                  <a:pt x="6305791" y="95542"/>
                </a:lnTo>
                <a:lnTo>
                  <a:pt x="6279185" y="58940"/>
                </a:lnTo>
                <a:lnTo>
                  <a:pt x="6251194" y="23456"/>
                </a:lnTo>
                <a:lnTo>
                  <a:pt x="6231153" y="0"/>
                </a:lnTo>
                <a:lnTo>
                  <a:pt x="4498073" y="0"/>
                </a:lnTo>
                <a:lnTo>
                  <a:pt x="4450029" y="58940"/>
                </a:lnTo>
                <a:lnTo>
                  <a:pt x="4423422" y="95542"/>
                </a:lnTo>
                <a:lnTo>
                  <a:pt x="4398251" y="133210"/>
                </a:lnTo>
                <a:lnTo>
                  <a:pt x="4374540" y="171907"/>
                </a:lnTo>
                <a:lnTo>
                  <a:pt x="4352341" y="211607"/>
                </a:lnTo>
                <a:lnTo>
                  <a:pt x="4331678" y="252247"/>
                </a:lnTo>
                <a:lnTo>
                  <a:pt x="4312615" y="293789"/>
                </a:lnTo>
                <a:lnTo>
                  <a:pt x="4295178" y="336219"/>
                </a:lnTo>
                <a:lnTo>
                  <a:pt x="4279404" y="379463"/>
                </a:lnTo>
                <a:lnTo>
                  <a:pt x="4265333" y="423506"/>
                </a:lnTo>
                <a:lnTo>
                  <a:pt x="4253014" y="468299"/>
                </a:lnTo>
                <a:lnTo>
                  <a:pt x="4242473" y="513816"/>
                </a:lnTo>
                <a:lnTo>
                  <a:pt x="4233773" y="559993"/>
                </a:lnTo>
                <a:lnTo>
                  <a:pt x="4226928" y="606806"/>
                </a:lnTo>
                <a:lnTo>
                  <a:pt x="4221988" y="654202"/>
                </a:lnTo>
                <a:lnTo>
                  <a:pt x="4219003" y="702170"/>
                </a:lnTo>
                <a:lnTo>
                  <a:pt x="4217987" y="750633"/>
                </a:lnTo>
                <a:lnTo>
                  <a:pt x="4219003" y="799096"/>
                </a:lnTo>
                <a:lnTo>
                  <a:pt x="4221988" y="847064"/>
                </a:lnTo>
                <a:lnTo>
                  <a:pt x="4226928" y="894461"/>
                </a:lnTo>
                <a:lnTo>
                  <a:pt x="4233773" y="941273"/>
                </a:lnTo>
                <a:lnTo>
                  <a:pt x="4242473" y="987450"/>
                </a:lnTo>
                <a:lnTo>
                  <a:pt x="4253014" y="1032967"/>
                </a:lnTo>
                <a:lnTo>
                  <a:pt x="4265333" y="1077760"/>
                </a:lnTo>
                <a:lnTo>
                  <a:pt x="4279404" y="1121803"/>
                </a:lnTo>
                <a:lnTo>
                  <a:pt x="4295178" y="1165047"/>
                </a:lnTo>
                <a:lnTo>
                  <a:pt x="4312615" y="1207477"/>
                </a:lnTo>
                <a:lnTo>
                  <a:pt x="4331678" y="1249019"/>
                </a:lnTo>
                <a:lnTo>
                  <a:pt x="4352341" y="1289659"/>
                </a:lnTo>
                <a:lnTo>
                  <a:pt x="4374540" y="1329359"/>
                </a:lnTo>
                <a:lnTo>
                  <a:pt x="4398251" y="1368056"/>
                </a:lnTo>
                <a:lnTo>
                  <a:pt x="4423422" y="1405724"/>
                </a:lnTo>
                <a:lnTo>
                  <a:pt x="4450029" y="1442326"/>
                </a:lnTo>
                <a:lnTo>
                  <a:pt x="4478032" y="1477810"/>
                </a:lnTo>
                <a:lnTo>
                  <a:pt x="4507369" y="1512150"/>
                </a:lnTo>
                <a:lnTo>
                  <a:pt x="4538027" y="1545297"/>
                </a:lnTo>
                <a:lnTo>
                  <a:pt x="4569942" y="1577225"/>
                </a:lnTo>
                <a:lnTo>
                  <a:pt x="4603102" y="1607870"/>
                </a:lnTo>
                <a:lnTo>
                  <a:pt x="4637430" y="1637220"/>
                </a:lnTo>
                <a:lnTo>
                  <a:pt x="4672927" y="1665211"/>
                </a:lnTo>
                <a:lnTo>
                  <a:pt x="4709528" y="1691817"/>
                </a:lnTo>
                <a:lnTo>
                  <a:pt x="4747196" y="1716989"/>
                </a:lnTo>
                <a:lnTo>
                  <a:pt x="4785893" y="1740700"/>
                </a:lnTo>
                <a:lnTo>
                  <a:pt x="4825581" y="1762912"/>
                </a:lnTo>
                <a:lnTo>
                  <a:pt x="4866221" y="1783562"/>
                </a:lnTo>
                <a:lnTo>
                  <a:pt x="4907775" y="1802625"/>
                </a:lnTo>
                <a:lnTo>
                  <a:pt x="4950193" y="1820075"/>
                </a:lnTo>
                <a:lnTo>
                  <a:pt x="4993449" y="1835848"/>
                </a:lnTo>
                <a:lnTo>
                  <a:pt x="5037493" y="1849907"/>
                </a:lnTo>
                <a:lnTo>
                  <a:pt x="5082286" y="1862239"/>
                </a:lnTo>
                <a:lnTo>
                  <a:pt x="5127790" y="1872767"/>
                </a:lnTo>
                <a:lnTo>
                  <a:pt x="5173967" y="1881479"/>
                </a:lnTo>
                <a:lnTo>
                  <a:pt x="5220779" y="1888324"/>
                </a:lnTo>
                <a:lnTo>
                  <a:pt x="5268188" y="1893252"/>
                </a:lnTo>
                <a:lnTo>
                  <a:pt x="5316144" y="1896249"/>
                </a:lnTo>
                <a:lnTo>
                  <a:pt x="5364607" y="1897253"/>
                </a:lnTo>
                <a:lnTo>
                  <a:pt x="5413083" y="1896249"/>
                </a:lnTo>
                <a:lnTo>
                  <a:pt x="5461038" y="1893252"/>
                </a:lnTo>
                <a:lnTo>
                  <a:pt x="5508447" y="1888324"/>
                </a:lnTo>
                <a:lnTo>
                  <a:pt x="5555246" y="1881479"/>
                </a:lnTo>
                <a:lnTo>
                  <a:pt x="5601436" y="1872767"/>
                </a:lnTo>
                <a:lnTo>
                  <a:pt x="5646940" y="1862239"/>
                </a:lnTo>
                <a:lnTo>
                  <a:pt x="5691733" y="1849907"/>
                </a:lnTo>
                <a:lnTo>
                  <a:pt x="5735777" y="1835848"/>
                </a:lnTo>
                <a:lnTo>
                  <a:pt x="5779033" y="1820075"/>
                </a:lnTo>
                <a:lnTo>
                  <a:pt x="5821451" y="1802625"/>
                </a:lnTo>
                <a:lnTo>
                  <a:pt x="5863006" y="1783562"/>
                </a:lnTo>
                <a:lnTo>
                  <a:pt x="5903646" y="1762912"/>
                </a:lnTo>
                <a:lnTo>
                  <a:pt x="5943333" y="1740700"/>
                </a:lnTo>
                <a:lnTo>
                  <a:pt x="5982030" y="1716989"/>
                </a:lnTo>
                <a:lnTo>
                  <a:pt x="6019698" y="1691817"/>
                </a:lnTo>
                <a:lnTo>
                  <a:pt x="6056300" y="1665211"/>
                </a:lnTo>
                <a:lnTo>
                  <a:pt x="6091783" y="1637220"/>
                </a:lnTo>
                <a:lnTo>
                  <a:pt x="6126124" y="1607870"/>
                </a:lnTo>
                <a:lnTo>
                  <a:pt x="6159271" y="1577225"/>
                </a:lnTo>
                <a:lnTo>
                  <a:pt x="6191199" y="1545297"/>
                </a:lnTo>
                <a:lnTo>
                  <a:pt x="6221857" y="1512150"/>
                </a:lnTo>
                <a:lnTo>
                  <a:pt x="6251194" y="1477810"/>
                </a:lnTo>
                <a:lnTo>
                  <a:pt x="6279185" y="1442326"/>
                </a:lnTo>
                <a:lnTo>
                  <a:pt x="6305791" y="1405724"/>
                </a:lnTo>
                <a:lnTo>
                  <a:pt x="6330975" y="1368056"/>
                </a:lnTo>
                <a:lnTo>
                  <a:pt x="6354686" y="1329359"/>
                </a:lnTo>
                <a:lnTo>
                  <a:pt x="6376886" y="1289659"/>
                </a:lnTo>
                <a:lnTo>
                  <a:pt x="6397536" y="1249019"/>
                </a:lnTo>
                <a:lnTo>
                  <a:pt x="6416611" y="1207477"/>
                </a:lnTo>
                <a:lnTo>
                  <a:pt x="6434048" y="1165047"/>
                </a:lnTo>
                <a:lnTo>
                  <a:pt x="6449822" y="1121803"/>
                </a:lnTo>
                <a:lnTo>
                  <a:pt x="6463893" y="1077760"/>
                </a:lnTo>
                <a:lnTo>
                  <a:pt x="6476212" y="1032967"/>
                </a:lnTo>
                <a:lnTo>
                  <a:pt x="6486741" y="987450"/>
                </a:lnTo>
                <a:lnTo>
                  <a:pt x="6495453" y="941273"/>
                </a:lnTo>
                <a:lnTo>
                  <a:pt x="6502298" y="894461"/>
                </a:lnTo>
                <a:lnTo>
                  <a:pt x="6507239" y="847064"/>
                </a:lnTo>
                <a:lnTo>
                  <a:pt x="6510223" y="799096"/>
                </a:lnTo>
                <a:lnTo>
                  <a:pt x="6511226" y="750633"/>
                </a:lnTo>
                <a:close/>
              </a:path>
              <a:path w="13428344" h="7560309">
                <a:moveTo>
                  <a:pt x="7263955" y="2331961"/>
                </a:moveTo>
                <a:lnTo>
                  <a:pt x="7261212" y="2284628"/>
                </a:lnTo>
                <a:lnTo>
                  <a:pt x="7253224" y="2238883"/>
                </a:lnTo>
                <a:lnTo>
                  <a:pt x="7240283" y="2195055"/>
                </a:lnTo>
                <a:lnTo>
                  <a:pt x="7222693" y="2153437"/>
                </a:lnTo>
                <a:lnTo>
                  <a:pt x="7200747" y="2114334"/>
                </a:lnTo>
                <a:lnTo>
                  <a:pt x="7174763" y="2078062"/>
                </a:lnTo>
                <a:lnTo>
                  <a:pt x="7145045" y="2044915"/>
                </a:lnTo>
                <a:lnTo>
                  <a:pt x="7111898" y="2015197"/>
                </a:lnTo>
                <a:lnTo>
                  <a:pt x="7075627" y="1989213"/>
                </a:lnTo>
                <a:lnTo>
                  <a:pt x="7036524" y="1967268"/>
                </a:lnTo>
                <a:lnTo>
                  <a:pt x="6994906" y="1949678"/>
                </a:lnTo>
                <a:lnTo>
                  <a:pt x="6951078" y="1936737"/>
                </a:lnTo>
                <a:lnTo>
                  <a:pt x="6905333" y="1928736"/>
                </a:lnTo>
                <a:lnTo>
                  <a:pt x="6858000" y="1926005"/>
                </a:lnTo>
                <a:lnTo>
                  <a:pt x="6810654" y="1928736"/>
                </a:lnTo>
                <a:lnTo>
                  <a:pt x="6764909" y="1936737"/>
                </a:lnTo>
                <a:lnTo>
                  <a:pt x="6721081" y="1949678"/>
                </a:lnTo>
                <a:lnTo>
                  <a:pt x="6679463" y="1967268"/>
                </a:lnTo>
                <a:lnTo>
                  <a:pt x="6640360" y="1989213"/>
                </a:lnTo>
                <a:lnTo>
                  <a:pt x="6604089" y="2015197"/>
                </a:lnTo>
                <a:lnTo>
                  <a:pt x="6570942" y="2044915"/>
                </a:lnTo>
                <a:lnTo>
                  <a:pt x="6541224" y="2078062"/>
                </a:lnTo>
                <a:lnTo>
                  <a:pt x="6515240" y="2114334"/>
                </a:lnTo>
                <a:lnTo>
                  <a:pt x="6493294" y="2153437"/>
                </a:lnTo>
                <a:lnTo>
                  <a:pt x="6475704" y="2195055"/>
                </a:lnTo>
                <a:lnTo>
                  <a:pt x="6462763" y="2238883"/>
                </a:lnTo>
                <a:lnTo>
                  <a:pt x="6454775" y="2284628"/>
                </a:lnTo>
                <a:lnTo>
                  <a:pt x="6452044" y="2331961"/>
                </a:lnTo>
                <a:lnTo>
                  <a:pt x="6454775" y="2379307"/>
                </a:lnTo>
                <a:lnTo>
                  <a:pt x="6462763" y="2425039"/>
                </a:lnTo>
                <a:lnTo>
                  <a:pt x="6475704" y="2468867"/>
                </a:lnTo>
                <a:lnTo>
                  <a:pt x="6493294" y="2510485"/>
                </a:lnTo>
                <a:lnTo>
                  <a:pt x="6515240" y="2549588"/>
                </a:lnTo>
                <a:lnTo>
                  <a:pt x="6541224" y="2585859"/>
                </a:lnTo>
                <a:lnTo>
                  <a:pt x="6570942" y="2619006"/>
                </a:lnTo>
                <a:lnTo>
                  <a:pt x="6604089" y="2648724"/>
                </a:lnTo>
                <a:lnTo>
                  <a:pt x="6640360" y="2674709"/>
                </a:lnTo>
                <a:lnTo>
                  <a:pt x="6679463" y="2696654"/>
                </a:lnTo>
                <a:lnTo>
                  <a:pt x="6721081" y="2714244"/>
                </a:lnTo>
                <a:lnTo>
                  <a:pt x="6764909" y="2727185"/>
                </a:lnTo>
                <a:lnTo>
                  <a:pt x="6810654" y="2735173"/>
                </a:lnTo>
                <a:lnTo>
                  <a:pt x="6858000" y="2737904"/>
                </a:lnTo>
                <a:lnTo>
                  <a:pt x="6905333" y="2735173"/>
                </a:lnTo>
                <a:lnTo>
                  <a:pt x="6951078" y="2727185"/>
                </a:lnTo>
                <a:lnTo>
                  <a:pt x="6994906" y="2714244"/>
                </a:lnTo>
                <a:lnTo>
                  <a:pt x="7036524" y="2696654"/>
                </a:lnTo>
                <a:lnTo>
                  <a:pt x="7075627" y="2674709"/>
                </a:lnTo>
                <a:lnTo>
                  <a:pt x="7111898" y="2648724"/>
                </a:lnTo>
                <a:lnTo>
                  <a:pt x="7145045" y="2619006"/>
                </a:lnTo>
                <a:lnTo>
                  <a:pt x="7174763" y="2585859"/>
                </a:lnTo>
                <a:lnTo>
                  <a:pt x="7200747" y="2549588"/>
                </a:lnTo>
                <a:lnTo>
                  <a:pt x="7222693" y="2510485"/>
                </a:lnTo>
                <a:lnTo>
                  <a:pt x="7240283" y="2468867"/>
                </a:lnTo>
                <a:lnTo>
                  <a:pt x="7253224" y="2425039"/>
                </a:lnTo>
                <a:lnTo>
                  <a:pt x="7261212" y="2379307"/>
                </a:lnTo>
                <a:lnTo>
                  <a:pt x="7263955" y="2331961"/>
                </a:lnTo>
                <a:close/>
              </a:path>
              <a:path w="13428344" h="7560309">
                <a:moveTo>
                  <a:pt x="9683991" y="6804571"/>
                </a:moveTo>
                <a:lnTo>
                  <a:pt x="9679940" y="6759384"/>
                </a:lnTo>
                <a:lnTo>
                  <a:pt x="9668256" y="6716852"/>
                </a:lnTo>
                <a:lnTo>
                  <a:pt x="9649663" y="6677685"/>
                </a:lnTo>
                <a:lnTo>
                  <a:pt x="9624860" y="6642595"/>
                </a:lnTo>
                <a:lnTo>
                  <a:pt x="9594558" y="6612280"/>
                </a:lnTo>
                <a:lnTo>
                  <a:pt x="9559468" y="6587477"/>
                </a:lnTo>
                <a:lnTo>
                  <a:pt x="9520301" y="6568884"/>
                </a:lnTo>
                <a:lnTo>
                  <a:pt x="9477756" y="6557200"/>
                </a:lnTo>
                <a:lnTo>
                  <a:pt x="9432569" y="6553149"/>
                </a:lnTo>
                <a:lnTo>
                  <a:pt x="9387370" y="6557200"/>
                </a:lnTo>
                <a:lnTo>
                  <a:pt x="9344838" y="6568884"/>
                </a:lnTo>
                <a:lnTo>
                  <a:pt x="9305658" y="6587477"/>
                </a:lnTo>
                <a:lnTo>
                  <a:pt x="9270568" y="6612280"/>
                </a:lnTo>
                <a:lnTo>
                  <a:pt x="9240266" y="6642595"/>
                </a:lnTo>
                <a:lnTo>
                  <a:pt x="9215463" y="6677685"/>
                </a:lnTo>
                <a:lnTo>
                  <a:pt x="9196857" y="6716852"/>
                </a:lnTo>
                <a:lnTo>
                  <a:pt x="9185186" y="6759384"/>
                </a:lnTo>
                <a:lnTo>
                  <a:pt x="9181135" y="6804571"/>
                </a:lnTo>
                <a:lnTo>
                  <a:pt x="9185186" y="6849770"/>
                </a:lnTo>
                <a:lnTo>
                  <a:pt x="9196857" y="6892303"/>
                </a:lnTo>
                <a:lnTo>
                  <a:pt x="9215463" y="6931482"/>
                </a:lnTo>
                <a:lnTo>
                  <a:pt x="9240266" y="6966572"/>
                </a:lnTo>
                <a:lnTo>
                  <a:pt x="9270568" y="6996874"/>
                </a:lnTo>
                <a:lnTo>
                  <a:pt x="9305658" y="7021677"/>
                </a:lnTo>
                <a:lnTo>
                  <a:pt x="9344838" y="7040283"/>
                </a:lnTo>
                <a:lnTo>
                  <a:pt x="9387370" y="7051954"/>
                </a:lnTo>
                <a:lnTo>
                  <a:pt x="9432569" y="7056006"/>
                </a:lnTo>
                <a:lnTo>
                  <a:pt x="9477756" y="7051954"/>
                </a:lnTo>
                <a:lnTo>
                  <a:pt x="9520301" y="7040283"/>
                </a:lnTo>
                <a:lnTo>
                  <a:pt x="9559468" y="7021677"/>
                </a:lnTo>
                <a:lnTo>
                  <a:pt x="9594558" y="6996874"/>
                </a:lnTo>
                <a:lnTo>
                  <a:pt x="9624860" y="6966572"/>
                </a:lnTo>
                <a:lnTo>
                  <a:pt x="9649663" y="6931482"/>
                </a:lnTo>
                <a:lnTo>
                  <a:pt x="9668256" y="6892303"/>
                </a:lnTo>
                <a:lnTo>
                  <a:pt x="9679940" y="6849770"/>
                </a:lnTo>
                <a:lnTo>
                  <a:pt x="9683991" y="6804571"/>
                </a:lnTo>
                <a:close/>
              </a:path>
              <a:path w="13428344" h="7560309">
                <a:moveTo>
                  <a:pt x="10395331" y="7534681"/>
                </a:moveTo>
                <a:lnTo>
                  <a:pt x="10392639" y="7487958"/>
                </a:lnTo>
                <a:lnTo>
                  <a:pt x="10384752" y="7442809"/>
                </a:lnTo>
                <a:lnTo>
                  <a:pt x="10371976" y="7399553"/>
                </a:lnTo>
                <a:lnTo>
                  <a:pt x="10354615" y="7358481"/>
                </a:lnTo>
                <a:lnTo>
                  <a:pt x="10332949" y="7319886"/>
                </a:lnTo>
                <a:lnTo>
                  <a:pt x="10307307" y="7284085"/>
                </a:lnTo>
                <a:lnTo>
                  <a:pt x="10277983" y="7251370"/>
                </a:lnTo>
                <a:lnTo>
                  <a:pt x="10245268" y="7222033"/>
                </a:lnTo>
                <a:lnTo>
                  <a:pt x="10209454" y="7196391"/>
                </a:lnTo>
                <a:lnTo>
                  <a:pt x="10170871" y="7174738"/>
                </a:lnTo>
                <a:lnTo>
                  <a:pt x="10129787" y="7157377"/>
                </a:lnTo>
                <a:lnTo>
                  <a:pt x="10086530" y="7144601"/>
                </a:lnTo>
                <a:lnTo>
                  <a:pt x="10041395" y="7136714"/>
                </a:lnTo>
                <a:lnTo>
                  <a:pt x="9994659" y="7134009"/>
                </a:lnTo>
                <a:lnTo>
                  <a:pt x="9947935" y="7136714"/>
                </a:lnTo>
                <a:lnTo>
                  <a:pt x="9902787" y="7144601"/>
                </a:lnTo>
                <a:lnTo>
                  <a:pt x="9859531" y="7157377"/>
                </a:lnTo>
                <a:lnTo>
                  <a:pt x="9818459" y="7174738"/>
                </a:lnTo>
                <a:lnTo>
                  <a:pt x="9779864" y="7196391"/>
                </a:lnTo>
                <a:lnTo>
                  <a:pt x="9744062" y="7222033"/>
                </a:lnTo>
                <a:lnTo>
                  <a:pt x="9711347" y="7251370"/>
                </a:lnTo>
                <a:lnTo>
                  <a:pt x="9682010" y="7284085"/>
                </a:lnTo>
                <a:lnTo>
                  <a:pt x="9656369" y="7319886"/>
                </a:lnTo>
                <a:lnTo>
                  <a:pt x="9634715" y="7358481"/>
                </a:lnTo>
                <a:lnTo>
                  <a:pt x="9617354" y="7399553"/>
                </a:lnTo>
                <a:lnTo>
                  <a:pt x="9604578" y="7442809"/>
                </a:lnTo>
                <a:lnTo>
                  <a:pt x="9596691" y="7487958"/>
                </a:lnTo>
                <a:lnTo>
                  <a:pt x="9593986" y="7534681"/>
                </a:lnTo>
                <a:lnTo>
                  <a:pt x="9595447" y="7560005"/>
                </a:lnTo>
                <a:lnTo>
                  <a:pt x="10393870" y="7560005"/>
                </a:lnTo>
                <a:lnTo>
                  <a:pt x="10395331" y="7534681"/>
                </a:lnTo>
                <a:close/>
              </a:path>
              <a:path w="13428344" h="7560309">
                <a:moveTo>
                  <a:pt x="10611333" y="6562687"/>
                </a:moveTo>
                <a:lnTo>
                  <a:pt x="10608640" y="6515963"/>
                </a:lnTo>
                <a:lnTo>
                  <a:pt x="10600754" y="6470815"/>
                </a:lnTo>
                <a:lnTo>
                  <a:pt x="10587977" y="6427559"/>
                </a:lnTo>
                <a:lnTo>
                  <a:pt x="10570604" y="6386474"/>
                </a:lnTo>
                <a:lnTo>
                  <a:pt x="10548950" y="6347892"/>
                </a:lnTo>
                <a:lnTo>
                  <a:pt x="10523309" y="6312090"/>
                </a:lnTo>
                <a:lnTo>
                  <a:pt x="10493985" y="6279362"/>
                </a:lnTo>
                <a:lnTo>
                  <a:pt x="10461257" y="6250038"/>
                </a:lnTo>
                <a:lnTo>
                  <a:pt x="10425455" y="6224397"/>
                </a:lnTo>
                <a:lnTo>
                  <a:pt x="10386873" y="6202731"/>
                </a:lnTo>
                <a:lnTo>
                  <a:pt x="10345788" y="6185370"/>
                </a:lnTo>
                <a:lnTo>
                  <a:pt x="10302532" y="6172593"/>
                </a:lnTo>
                <a:lnTo>
                  <a:pt x="10257384" y="6164707"/>
                </a:lnTo>
                <a:lnTo>
                  <a:pt x="10210660" y="6162014"/>
                </a:lnTo>
                <a:lnTo>
                  <a:pt x="10163937" y="6164707"/>
                </a:lnTo>
                <a:lnTo>
                  <a:pt x="10118788" y="6172593"/>
                </a:lnTo>
                <a:lnTo>
                  <a:pt x="10075532" y="6185370"/>
                </a:lnTo>
                <a:lnTo>
                  <a:pt x="10034460" y="6202731"/>
                </a:lnTo>
                <a:lnTo>
                  <a:pt x="9995865" y="6224397"/>
                </a:lnTo>
                <a:lnTo>
                  <a:pt x="9960064" y="6250038"/>
                </a:lnTo>
                <a:lnTo>
                  <a:pt x="9927349" y="6279362"/>
                </a:lnTo>
                <a:lnTo>
                  <a:pt x="9898012" y="6312090"/>
                </a:lnTo>
                <a:lnTo>
                  <a:pt x="9872370" y="6347892"/>
                </a:lnTo>
                <a:lnTo>
                  <a:pt x="9850717" y="6386474"/>
                </a:lnTo>
                <a:lnTo>
                  <a:pt x="9833343" y="6427559"/>
                </a:lnTo>
                <a:lnTo>
                  <a:pt x="9820567" y="6470815"/>
                </a:lnTo>
                <a:lnTo>
                  <a:pt x="9812680" y="6515963"/>
                </a:lnTo>
                <a:lnTo>
                  <a:pt x="9809988" y="6562687"/>
                </a:lnTo>
                <a:lnTo>
                  <a:pt x="9812680" y="6609410"/>
                </a:lnTo>
                <a:lnTo>
                  <a:pt x="9820567" y="6654559"/>
                </a:lnTo>
                <a:lnTo>
                  <a:pt x="9833343" y="6697815"/>
                </a:lnTo>
                <a:lnTo>
                  <a:pt x="9850717" y="6738887"/>
                </a:lnTo>
                <a:lnTo>
                  <a:pt x="9872370" y="6777482"/>
                </a:lnTo>
                <a:lnTo>
                  <a:pt x="9898012" y="6813283"/>
                </a:lnTo>
                <a:lnTo>
                  <a:pt x="9927349" y="6845998"/>
                </a:lnTo>
                <a:lnTo>
                  <a:pt x="9960064" y="6875323"/>
                </a:lnTo>
                <a:lnTo>
                  <a:pt x="9995865" y="6900964"/>
                </a:lnTo>
                <a:lnTo>
                  <a:pt x="10034460" y="6922617"/>
                </a:lnTo>
                <a:lnTo>
                  <a:pt x="10075532" y="6939991"/>
                </a:lnTo>
                <a:lnTo>
                  <a:pt x="10118788" y="6952767"/>
                </a:lnTo>
                <a:lnTo>
                  <a:pt x="10163937" y="6960654"/>
                </a:lnTo>
                <a:lnTo>
                  <a:pt x="10210660" y="6963346"/>
                </a:lnTo>
                <a:lnTo>
                  <a:pt x="10257384" y="6960654"/>
                </a:lnTo>
                <a:lnTo>
                  <a:pt x="10302532" y="6952767"/>
                </a:lnTo>
                <a:lnTo>
                  <a:pt x="10345788" y="6939991"/>
                </a:lnTo>
                <a:lnTo>
                  <a:pt x="10386873" y="6922617"/>
                </a:lnTo>
                <a:lnTo>
                  <a:pt x="10425455" y="6900964"/>
                </a:lnTo>
                <a:lnTo>
                  <a:pt x="10461257" y="6875323"/>
                </a:lnTo>
                <a:lnTo>
                  <a:pt x="10493985" y="6845998"/>
                </a:lnTo>
                <a:lnTo>
                  <a:pt x="10523309" y="6813283"/>
                </a:lnTo>
                <a:lnTo>
                  <a:pt x="10548950" y="6777482"/>
                </a:lnTo>
                <a:lnTo>
                  <a:pt x="10570604" y="6738887"/>
                </a:lnTo>
                <a:lnTo>
                  <a:pt x="10587977" y="6697815"/>
                </a:lnTo>
                <a:lnTo>
                  <a:pt x="10600754" y="6654559"/>
                </a:lnTo>
                <a:lnTo>
                  <a:pt x="10608640" y="6609410"/>
                </a:lnTo>
                <a:lnTo>
                  <a:pt x="10611333" y="6562687"/>
                </a:lnTo>
                <a:close/>
              </a:path>
              <a:path w="13428344" h="7560309">
                <a:moveTo>
                  <a:pt x="13427951" y="4216793"/>
                </a:moveTo>
                <a:lnTo>
                  <a:pt x="13384009" y="4191304"/>
                </a:lnTo>
                <a:lnTo>
                  <a:pt x="13342938" y="4173944"/>
                </a:lnTo>
                <a:lnTo>
                  <a:pt x="13299669" y="4161167"/>
                </a:lnTo>
                <a:lnTo>
                  <a:pt x="13254533" y="4153281"/>
                </a:lnTo>
                <a:lnTo>
                  <a:pt x="13207810" y="4150576"/>
                </a:lnTo>
                <a:lnTo>
                  <a:pt x="13161074" y="4153281"/>
                </a:lnTo>
                <a:lnTo>
                  <a:pt x="13115938" y="4161167"/>
                </a:lnTo>
                <a:lnTo>
                  <a:pt x="13072669" y="4173944"/>
                </a:lnTo>
                <a:lnTo>
                  <a:pt x="13031597" y="4191304"/>
                </a:lnTo>
                <a:lnTo>
                  <a:pt x="12993015" y="4212958"/>
                </a:lnTo>
                <a:lnTo>
                  <a:pt x="12957201" y="4238599"/>
                </a:lnTo>
                <a:lnTo>
                  <a:pt x="12924485" y="4267936"/>
                </a:lnTo>
                <a:lnTo>
                  <a:pt x="12895161" y="4300652"/>
                </a:lnTo>
                <a:lnTo>
                  <a:pt x="12869507" y="4336453"/>
                </a:lnTo>
                <a:lnTo>
                  <a:pt x="12847854" y="4375048"/>
                </a:lnTo>
                <a:lnTo>
                  <a:pt x="12830493" y="4416120"/>
                </a:lnTo>
                <a:lnTo>
                  <a:pt x="12817716" y="4459389"/>
                </a:lnTo>
                <a:lnTo>
                  <a:pt x="12809830" y="4504525"/>
                </a:lnTo>
                <a:lnTo>
                  <a:pt x="12807137" y="4551248"/>
                </a:lnTo>
                <a:lnTo>
                  <a:pt x="12809830" y="4597971"/>
                </a:lnTo>
                <a:lnTo>
                  <a:pt x="12817716" y="4643120"/>
                </a:lnTo>
                <a:lnTo>
                  <a:pt x="12830493" y="4686376"/>
                </a:lnTo>
                <a:lnTo>
                  <a:pt x="12847854" y="4727448"/>
                </a:lnTo>
                <a:lnTo>
                  <a:pt x="12869507" y="4766043"/>
                </a:lnTo>
                <a:lnTo>
                  <a:pt x="12895161" y="4801844"/>
                </a:lnTo>
                <a:lnTo>
                  <a:pt x="12924485" y="4834560"/>
                </a:lnTo>
                <a:lnTo>
                  <a:pt x="12957201" y="4863897"/>
                </a:lnTo>
                <a:lnTo>
                  <a:pt x="12993015" y="4889538"/>
                </a:lnTo>
                <a:lnTo>
                  <a:pt x="13031597" y="4911191"/>
                </a:lnTo>
                <a:lnTo>
                  <a:pt x="13072669" y="4928552"/>
                </a:lnTo>
                <a:lnTo>
                  <a:pt x="13115938" y="4941328"/>
                </a:lnTo>
                <a:lnTo>
                  <a:pt x="13161074" y="4949215"/>
                </a:lnTo>
                <a:lnTo>
                  <a:pt x="13207810" y="4951908"/>
                </a:lnTo>
                <a:lnTo>
                  <a:pt x="13254533" y="4949215"/>
                </a:lnTo>
                <a:lnTo>
                  <a:pt x="13299669" y="4941328"/>
                </a:lnTo>
                <a:lnTo>
                  <a:pt x="13342938" y="4928552"/>
                </a:lnTo>
                <a:lnTo>
                  <a:pt x="13384009" y="4911191"/>
                </a:lnTo>
                <a:lnTo>
                  <a:pt x="13422605" y="4889538"/>
                </a:lnTo>
                <a:lnTo>
                  <a:pt x="13427951" y="4885702"/>
                </a:lnTo>
                <a:lnTo>
                  <a:pt x="13427951" y="4216793"/>
                </a:lnTo>
                <a:close/>
              </a:path>
              <a:path w="13428344" h="7560309">
                <a:moveTo>
                  <a:pt x="13427951" y="2274125"/>
                </a:moveTo>
                <a:lnTo>
                  <a:pt x="13356323" y="2246414"/>
                </a:lnTo>
                <a:lnTo>
                  <a:pt x="13312559" y="2233130"/>
                </a:lnTo>
                <a:lnTo>
                  <a:pt x="13267868" y="2222106"/>
                </a:lnTo>
                <a:lnTo>
                  <a:pt x="13222300" y="2213419"/>
                </a:lnTo>
                <a:lnTo>
                  <a:pt x="13175920" y="2207120"/>
                </a:lnTo>
                <a:lnTo>
                  <a:pt x="13128803" y="2203297"/>
                </a:lnTo>
                <a:lnTo>
                  <a:pt x="13081013" y="2202015"/>
                </a:lnTo>
                <a:lnTo>
                  <a:pt x="13033223" y="2203297"/>
                </a:lnTo>
                <a:lnTo>
                  <a:pt x="12986106" y="2207120"/>
                </a:lnTo>
                <a:lnTo>
                  <a:pt x="12939725" y="2213419"/>
                </a:lnTo>
                <a:lnTo>
                  <a:pt x="12894158" y="2222106"/>
                </a:lnTo>
                <a:lnTo>
                  <a:pt x="12849454" y="2233130"/>
                </a:lnTo>
                <a:lnTo>
                  <a:pt x="12805702" y="2246414"/>
                </a:lnTo>
                <a:lnTo>
                  <a:pt x="12762954" y="2261908"/>
                </a:lnTo>
                <a:lnTo>
                  <a:pt x="12721273" y="2279535"/>
                </a:lnTo>
                <a:lnTo>
                  <a:pt x="12680722" y="2299233"/>
                </a:lnTo>
                <a:lnTo>
                  <a:pt x="12641390" y="2320937"/>
                </a:lnTo>
                <a:lnTo>
                  <a:pt x="12603328" y="2344572"/>
                </a:lnTo>
                <a:lnTo>
                  <a:pt x="12566599" y="2370074"/>
                </a:lnTo>
                <a:lnTo>
                  <a:pt x="12531281" y="2397379"/>
                </a:lnTo>
                <a:lnTo>
                  <a:pt x="12497422" y="2426411"/>
                </a:lnTo>
                <a:lnTo>
                  <a:pt x="12465114" y="2457132"/>
                </a:lnTo>
                <a:lnTo>
                  <a:pt x="12434392" y="2489441"/>
                </a:lnTo>
                <a:lnTo>
                  <a:pt x="12405360" y="2523299"/>
                </a:lnTo>
                <a:lnTo>
                  <a:pt x="12378055" y="2558618"/>
                </a:lnTo>
                <a:lnTo>
                  <a:pt x="12352541" y="2595346"/>
                </a:lnTo>
                <a:lnTo>
                  <a:pt x="12328919" y="2633408"/>
                </a:lnTo>
                <a:lnTo>
                  <a:pt x="12307214" y="2672753"/>
                </a:lnTo>
                <a:lnTo>
                  <a:pt x="12287517" y="2713291"/>
                </a:lnTo>
                <a:lnTo>
                  <a:pt x="12269889" y="2754973"/>
                </a:lnTo>
                <a:lnTo>
                  <a:pt x="12254395" y="2797721"/>
                </a:lnTo>
                <a:lnTo>
                  <a:pt x="12241111" y="2841485"/>
                </a:lnTo>
                <a:lnTo>
                  <a:pt x="12230087" y="2886176"/>
                </a:lnTo>
                <a:lnTo>
                  <a:pt x="12221388" y="2931744"/>
                </a:lnTo>
                <a:lnTo>
                  <a:pt x="12215101" y="2978124"/>
                </a:lnTo>
                <a:lnTo>
                  <a:pt x="12211279" y="3025241"/>
                </a:lnTo>
                <a:lnTo>
                  <a:pt x="12209996" y="3073031"/>
                </a:lnTo>
                <a:lnTo>
                  <a:pt x="12211279" y="3120821"/>
                </a:lnTo>
                <a:lnTo>
                  <a:pt x="12215101" y="3167938"/>
                </a:lnTo>
                <a:lnTo>
                  <a:pt x="12221388" y="3214319"/>
                </a:lnTo>
                <a:lnTo>
                  <a:pt x="12230087" y="3259886"/>
                </a:lnTo>
                <a:lnTo>
                  <a:pt x="12241111" y="3304578"/>
                </a:lnTo>
                <a:lnTo>
                  <a:pt x="12254395" y="3348342"/>
                </a:lnTo>
                <a:lnTo>
                  <a:pt x="12269889" y="3391090"/>
                </a:lnTo>
                <a:lnTo>
                  <a:pt x="12287517" y="3432772"/>
                </a:lnTo>
                <a:lnTo>
                  <a:pt x="12307214" y="3473310"/>
                </a:lnTo>
                <a:lnTo>
                  <a:pt x="12328919" y="3512655"/>
                </a:lnTo>
                <a:lnTo>
                  <a:pt x="12352541" y="3550716"/>
                </a:lnTo>
                <a:lnTo>
                  <a:pt x="12378055" y="3587445"/>
                </a:lnTo>
                <a:lnTo>
                  <a:pt x="12405360" y="3622764"/>
                </a:lnTo>
                <a:lnTo>
                  <a:pt x="12434392" y="3656622"/>
                </a:lnTo>
                <a:lnTo>
                  <a:pt x="12465114" y="3688931"/>
                </a:lnTo>
                <a:lnTo>
                  <a:pt x="12497422" y="3719639"/>
                </a:lnTo>
                <a:lnTo>
                  <a:pt x="12531281" y="3748684"/>
                </a:lnTo>
                <a:lnTo>
                  <a:pt x="12566599" y="3775989"/>
                </a:lnTo>
                <a:lnTo>
                  <a:pt x="12603328" y="3801491"/>
                </a:lnTo>
                <a:lnTo>
                  <a:pt x="12641390" y="3825125"/>
                </a:lnTo>
                <a:lnTo>
                  <a:pt x="12680722" y="3846830"/>
                </a:lnTo>
                <a:lnTo>
                  <a:pt x="12721273" y="3866527"/>
                </a:lnTo>
                <a:lnTo>
                  <a:pt x="12762954" y="3884155"/>
                </a:lnTo>
                <a:lnTo>
                  <a:pt x="12805702" y="3899636"/>
                </a:lnTo>
                <a:lnTo>
                  <a:pt x="12849454" y="3912933"/>
                </a:lnTo>
                <a:lnTo>
                  <a:pt x="12894158" y="3923957"/>
                </a:lnTo>
                <a:lnTo>
                  <a:pt x="12939725" y="3932644"/>
                </a:lnTo>
                <a:lnTo>
                  <a:pt x="12986106" y="3938930"/>
                </a:lnTo>
                <a:lnTo>
                  <a:pt x="13033223" y="3942753"/>
                </a:lnTo>
                <a:lnTo>
                  <a:pt x="13081013" y="3944048"/>
                </a:lnTo>
                <a:lnTo>
                  <a:pt x="13128803" y="3942753"/>
                </a:lnTo>
                <a:lnTo>
                  <a:pt x="13175920" y="3938930"/>
                </a:lnTo>
                <a:lnTo>
                  <a:pt x="13222300" y="3932644"/>
                </a:lnTo>
                <a:lnTo>
                  <a:pt x="13267868" y="3923957"/>
                </a:lnTo>
                <a:lnTo>
                  <a:pt x="13312559" y="3912933"/>
                </a:lnTo>
                <a:lnTo>
                  <a:pt x="13356323" y="3899636"/>
                </a:lnTo>
                <a:lnTo>
                  <a:pt x="13399072" y="3884155"/>
                </a:lnTo>
                <a:lnTo>
                  <a:pt x="13427951" y="3871938"/>
                </a:lnTo>
                <a:lnTo>
                  <a:pt x="13427951" y="2274125"/>
                </a:lnTo>
                <a:close/>
              </a:path>
            </a:pathLst>
          </a:custGeom>
          <a:solidFill>
            <a:srgbClr val="00AFFF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159032" y="323841"/>
            <a:ext cx="2409934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42828" y="4045890"/>
            <a:ext cx="2694661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BF7EEC-507A-5DAF-041E-6C88DA7CD3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59810" y="5994450"/>
            <a:ext cx="2177679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56A3293-0A25-9254-24C1-0102A4EFA6A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528540" y="569748"/>
            <a:ext cx="2993617" cy="295342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278CA799-987B-A375-4C17-9D3DEB73736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129092" y="2844799"/>
            <a:ext cx="5166198" cy="509683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0AD25F3-855C-5EB6-FE7B-3C66BC00A2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21221" y="-501494"/>
            <a:ext cx="3537548" cy="34900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296069B-042B-27A3-FD0E-ECE4DCE3A47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173795" y="3523173"/>
            <a:ext cx="2005782" cy="19788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96400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51839" y="1825625"/>
            <a:ext cx="10703151" cy="385820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38" y="6114954"/>
            <a:ext cx="89040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7570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658028" y="4109545"/>
            <a:ext cx="4243583" cy="143685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8553A972-1E95-D470-43E7-20722BD9B698}"/>
              </a:ext>
            </a:extLst>
          </p:cNvPr>
          <p:cNvSpPr/>
          <p:nvPr userDrawn="1"/>
        </p:nvSpPr>
        <p:spPr>
          <a:xfrm>
            <a:off x="8504433" y="4290554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34" y="0"/>
                </a:moveTo>
                <a:lnTo>
                  <a:pt x="206239" y="4051"/>
                </a:lnTo>
                <a:lnTo>
                  <a:pt x="163701" y="15730"/>
                </a:lnTo>
                <a:lnTo>
                  <a:pt x="124531" y="34328"/>
                </a:lnTo>
                <a:lnTo>
                  <a:pt x="89439" y="59134"/>
                </a:lnTo>
                <a:lnTo>
                  <a:pt x="59134" y="89439"/>
                </a:lnTo>
                <a:lnTo>
                  <a:pt x="34328" y="124531"/>
                </a:lnTo>
                <a:lnTo>
                  <a:pt x="15730" y="163701"/>
                </a:lnTo>
                <a:lnTo>
                  <a:pt x="4051" y="206239"/>
                </a:lnTo>
                <a:lnTo>
                  <a:pt x="0" y="251434"/>
                </a:lnTo>
                <a:lnTo>
                  <a:pt x="4051" y="296626"/>
                </a:lnTo>
                <a:lnTo>
                  <a:pt x="15730" y="339160"/>
                </a:lnTo>
                <a:lnTo>
                  <a:pt x="34328" y="378328"/>
                </a:lnTo>
                <a:lnTo>
                  <a:pt x="59134" y="413419"/>
                </a:lnTo>
                <a:lnTo>
                  <a:pt x="89439" y="443722"/>
                </a:lnTo>
                <a:lnTo>
                  <a:pt x="124531" y="468528"/>
                </a:lnTo>
                <a:lnTo>
                  <a:pt x="163701" y="487126"/>
                </a:lnTo>
                <a:lnTo>
                  <a:pt x="206239" y="498805"/>
                </a:lnTo>
                <a:lnTo>
                  <a:pt x="251434" y="502856"/>
                </a:lnTo>
                <a:lnTo>
                  <a:pt x="296629" y="498805"/>
                </a:lnTo>
                <a:lnTo>
                  <a:pt x="339165" y="487126"/>
                </a:lnTo>
                <a:lnTo>
                  <a:pt x="378334" y="468528"/>
                </a:lnTo>
                <a:lnTo>
                  <a:pt x="413424" y="443722"/>
                </a:lnTo>
                <a:lnTo>
                  <a:pt x="443726" y="413419"/>
                </a:lnTo>
                <a:lnTo>
                  <a:pt x="468531" y="378328"/>
                </a:lnTo>
                <a:lnTo>
                  <a:pt x="487127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7" y="163701"/>
                </a:lnTo>
                <a:lnTo>
                  <a:pt x="468531" y="124531"/>
                </a:lnTo>
                <a:lnTo>
                  <a:pt x="443726" y="89439"/>
                </a:lnTo>
                <a:lnTo>
                  <a:pt x="413424" y="59134"/>
                </a:lnTo>
                <a:lnTo>
                  <a:pt x="378334" y="34328"/>
                </a:lnTo>
                <a:lnTo>
                  <a:pt x="339165" y="15730"/>
                </a:lnTo>
                <a:lnTo>
                  <a:pt x="296629" y="4051"/>
                </a:lnTo>
                <a:lnTo>
                  <a:pt x="251434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745FCC51-35A5-6552-1BCA-809EA904C4EA}"/>
              </a:ext>
            </a:extLst>
          </p:cNvPr>
          <p:cNvSpPr/>
          <p:nvPr userDrawn="1"/>
        </p:nvSpPr>
        <p:spPr>
          <a:xfrm>
            <a:off x="2057190" y="5942400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19" h="502920">
                <a:moveTo>
                  <a:pt x="251421" y="0"/>
                </a:moveTo>
                <a:lnTo>
                  <a:pt x="206227" y="4050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3"/>
                </a:lnTo>
                <a:lnTo>
                  <a:pt x="59129" y="89437"/>
                </a:lnTo>
                <a:lnTo>
                  <a:pt x="34325" y="124527"/>
                </a:lnTo>
                <a:lnTo>
                  <a:pt x="15728" y="163695"/>
                </a:lnTo>
                <a:lnTo>
                  <a:pt x="4050" y="206230"/>
                </a:lnTo>
                <a:lnTo>
                  <a:pt x="0" y="251421"/>
                </a:lnTo>
                <a:lnTo>
                  <a:pt x="4050" y="296617"/>
                </a:lnTo>
                <a:lnTo>
                  <a:pt x="15728" y="339154"/>
                </a:lnTo>
                <a:lnTo>
                  <a:pt x="34325" y="378325"/>
                </a:lnTo>
                <a:lnTo>
                  <a:pt x="59129" y="413417"/>
                </a:lnTo>
                <a:lnTo>
                  <a:pt x="89431" y="443721"/>
                </a:lnTo>
                <a:lnTo>
                  <a:pt x="124522" y="468527"/>
                </a:lnTo>
                <a:lnTo>
                  <a:pt x="163690" y="487125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5"/>
                </a:lnTo>
                <a:lnTo>
                  <a:pt x="378325" y="468527"/>
                </a:lnTo>
                <a:lnTo>
                  <a:pt x="413417" y="443721"/>
                </a:lnTo>
                <a:lnTo>
                  <a:pt x="443721" y="413417"/>
                </a:lnTo>
                <a:lnTo>
                  <a:pt x="468527" y="378325"/>
                </a:lnTo>
                <a:lnTo>
                  <a:pt x="487125" y="339154"/>
                </a:lnTo>
                <a:lnTo>
                  <a:pt x="498805" y="296617"/>
                </a:lnTo>
                <a:lnTo>
                  <a:pt x="502856" y="251421"/>
                </a:lnTo>
                <a:lnTo>
                  <a:pt x="498805" y="206230"/>
                </a:lnTo>
                <a:lnTo>
                  <a:pt x="487125" y="163695"/>
                </a:lnTo>
                <a:lnTo>
                  <a:pt x="468527" y="124527"/>
                </a:lnTo>
                <a:lnTo>
                  <a:pt x="443721" y="89437"/>
                </a:lnTo>
                <a:lnTo>
                  <a:pt x="413417" y="59133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0"/>
                </a:lnTo>
                <a:lnTo>
                  <a:pt x="251421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9">
            <a:extLst>
              <a:ext uri="{FF2B5EF4-FFF2-40B4-BE49-F238E27FC236}">
                <a16:creationId xmlns:a16="http://schemas.microsoft.com/office/drawing/2014/main" id="{C5EB0FD8-7C29-F50A-8BC6-F6015FCF50C1}"/>
              </a:ext>
            </a:extLst>
          </p:cNvPr>
          <p:cNvSpPr/>
          <p:nvPr userDrawn="1"/>
        </p:nvSpPr>
        <p:spPr>
          <a:xfrm>
            <a:off x="8267563" y="4977217"/>
            <a:ext cx="2079857" cy="1878320"/>
          </a:xfrm>
          <a:custGeom>
            <a:avLst/>
            <a:gdLst/>
            <a:ahLst/>
            <a:cxnLst/>
            <a:rect l="l" t="t" r="r" b="b"/>
            <a:pathLst>
              <a:path w="2293620" h="2071370">
                <a:moveTo>
                  <a:pt x="1146619" y="0"/>
                </a:moveTo>
                <a:lnTo>
                  <a:pt x="1098150" y="1005"/>
                </a:lnTo>
                <a:lnTo>
                  <a:pt x="1050193" y="3997"/>
                </a:lnTo>
                <a:lnTo>
                  <a:pt x="1002790" y="8933"/>
                </a:lnTo>
                <a:lnTo>
                  <a:pt x="955978" y="15776"/>
                </a:lnTo>
                <a:lnTo>
                  <a:pt x="909799" y="24484"/>
                </a:lnTo>
                <a:lnTo>
                  <a:pt x="864291" y="35018"/>
                </a:lnTo>
                <a:lnTo>
                  <a:pt x="819496" y="47339"/>
                </a:lnTo>
                <a:lnTo>
                  <a:pt x="775452" y="61406"/>
                </a:lnTo>
                <a:lnTo>
                  <a:pt x="732199" y="77180"/>
                </a:lnTo>
                <a:lnTo>
                  <a:pt x="689778" y="94621"/>
                </a:lnTo>
                <a:lnTo>
                  <a:pt x="648227" y="113689"/>
                </a:lnTo>
                <a:lnTo>
                  <a:pt x="607588" y="134344"/>
                </a:lnTo>
                <a:lnTo>
                  <a:pt x="567898" y="156547"/>
                </a:lnTo>
                <a:lnTo>
                  <a:pt x="529199" y="180257"/>
                </a:lnTo>
                <a:lnTo>
                  <a:pt x="491531" y="205436"/>
                </a:lnTo>
                <a:lnTo>
                  <a:pt x="454932" y="232042"/>
                </a:lnTo>
                <a:lnTo>
                  <a:pt x="419443" y="260037"/>
                </a:lnTo>
                <a:lnTo>
                  <a:pt x="385103" y="289380"/>
                </a:lnTo>
                <a:lnTo>
                  <a:pt x="351953" y="320032"/>
                </a:lnTo>
                <a:lnTo>
                  <a:pt x="320032" y="351953"/>
                </a:lnTo>
                <a:lnTo>
                  <a:pt x="289380" y="385103"/>
                </a:lnTo>
                <a:lnTo>
                  <a:pt x="260037" y="419443"/>
                </a:lnTo>
                <a:lnTo>
                  <a:pt x="232042" y="454932"/>
                </a:lnTo>
                <a:lnTo>
                  <a:pt x="205436" y="491531"/>
                </a:lnTo>
                <a:lnTo>
                  <a:pt x="180257" y="529199"/>
                </a:lnTo>
                <a:lnTo>
                  <a:pt x="156547" y="567898"/>
                </a:lnTo>
                <a:lnTo>
                  <a:pt x="134344" y="607588"/>
                </a:lnTo>
                <a:lnTo>
                  <a:pt x="113689" y="648227"/>
                </a:lnTo>
                <a:lnTo>
                  <a:pt x="94621" y="689778"/>
                </a:lnTo>
                <a:lnTo>
                  <a:pt x="77180" y="732199"/>
                </a:lnTo>
                <a:lnTo>
                  <a:pt x="61406" y="775452"/>
                </a:lnTo>
                <a:lnTo>
                  <a:pt x="47339" y="819496"/>
                </a:lnTo>
                <a:lnTo>
                  <a:pt x="35018" y="864291"/>
                </a:lnTo>
                <a:lnTo>
                  <a:pt x="24484" y="909799"/>
                </a:lnTo>
                <a:lnTo>
                  <a:pt x="15776" y="955978"/>
                </a:lnTo>
                <a:lnTo>
                  <a:pt x="8933" y="1002790"/>
                </a:lnTo>
                <a:lnTo>
                  <a:pt x="3997" y="1050193"/>
                </a:lnTo>
                <a:lnTo>
                  <a:pt x="1005" y="1098150"/>
                </a:lnTo>
                <a:lnTo>
                  <a:pt x="0" y="1146619"/>
                </a:lnTo>
                <a:lnTo>
                  <a:pt x="1005" y="1195088"/>
                </a:lnTo>
                <a:lnTo>
                  <a:pt x="3997" y="1243045"/>
                </a:lnTo>
                <a:lnTo>
                  <a:pt x="8933" y="1290448"/>
                </a:lnTo>
                <a:lnTo>
                  <a:pt x="15776" y="1337260"/>
                </a:lnTo>
                <a:lnTo>
                  <a:pt x="24484" y="1383439"/>
                </a:lnTo>
                <a:lnTo>
                  <a:pt x="35018" y="1428947"/>
                </a:lnTo>
                <a:lnTo>
                  <a:pt x="47339" y="1473742"/>
                </a:lnTo>
                <a:lnTo>
                  <a:pt x="61406" y="1517786"/>
                </a:lnTo>
                <a:lnTo>
                  <a:pt x="77180" y="1561039"/>
                </a:lnTo>
                <a:lnTo>
                  <a:pt x="94621" y="1603460"/>
                </a:lnTo>
                <a:lnTo>
                  <a:pt x="113689" y="1645011"/>
                </a:lnTo>
                <a:lnTo>
                  <a:pt x="134344" y="1685650"/>
                </a:lnTo>
                <a:lnTo>
                  <a:pt x="156547" y="1725340"/>
                </a:lnTo>
                <a:lnTo>
                  <a:pt x="180257" y="1764039"/>
                </a:lnTo>
                <a:lnTo>
                  <a:pt x="205436" y="1801707"/>
                </a:lnTo>
                <a:lnTo>
                  <a:pt x="232042" y="1838306"/>
                </a:lnTo>
                <a:lnTo>
                  <a:pt x="260037" y="1873795"/>
                </a:lnTo>
                <a:lnTo>
                  <a:pt x="289380" y="1908135"/>
                </a:lnTo>
                <a:lnTo>
                  <a:pt x="320032" y="1941285"/>
                </a:lnTo>
                <a:lnTo>
                  <a:pt x="351953" y="1973206"/>
                </a:lnTo>
                <a:lnTo>
                  <a:pt x="385103" y="2003858"/>
                </a:lnTo>
                <a:lnTo>
                  <a:pt x="419443" y="2033201"/>
                </a:lnTo>
                <a:lnTo>
                  <a:pt x="454932" y="2061196"/>
                </a:lnTo>
                <a:lnTo>
                  <a:pt x="468748" y="2071240"/>
                </a:lnTo>
                <a:lnTo>
                  <a:pt x="1824490" y="2071240"/>
                </a:lnTo>
                <a:lnTo>
                  <a:pt x="1873795" y="2033201"/>
                </a:lnTo>
                <a:lnTo>
                  <a:pt x="1908135" y="2003858"/>
                </a:lnTo>
                <a:lnTo>
                  <a:pt x="1941285" y="1973206"/>
                </a:lnTo>
                <a:lnTo>
                  <a:pt x="1973206" y="1941285"/>
                </a:lnTo>
                <a:lnTo>
                  <a:pt x="2003858" y="1908135"/>
                </a:lnTo>
                <a:lnTo>
                  <a:pt x="2033201" y="1873795"/>
                </a:lnTo>
                <a:lnTo>
                  <a:pt x="2061196" y="1838306"/>
                </a:lnTo>
                <a:lnTo>
                  <a:pt x="2087802" y="1801707"/>
                </a:lnTo>
                <a:lnTo>
                  <a:pt x="2112981" y="1764039"/>
                </a:lnTo>
                <a:lnTo>
                  <a:pt x="2136691" y="1725340"/>
                </a:lnTo>
                <a:lnTo>
                  <a:pt x="2158894" y="1685650"/>
                </a:lnTo>
                <a:lnTo>
                  <a:pt x="2179549" y="1645011"/>
                </a:lnTo>
                <a:lnTo>
                  <a:pt x="2198617" y="1603460"/>
                </a:lnTo>
                <a:lnTo>
                  <a:pt x="2216058" y="1561039"/>
                </a:lnTo>
                <a:lnTo>
                  <a:pt x="2231832" y="1517786"/>
                </a:lnTo>
                <a:lnTo>
                  <a:pt x="2245899" y="1473742"/>
                </a:lnTo>
                <a:lnTo>
                  <a:pt x="2258220" y="1428947"/>
                </a:lnTo>
                <a:lnTo>
                  <a:pt x="2268754" y="1383439"/>
                </a:lnTo>
                <a:lnTo>
                  <a:pt x="2277462" y="1337260"/>
                </a:lnTo>
                <a:lnTo>
                  <a:pt x="2284305" y="1290448"/>
                </a:lnTo>
                <a:lnTo>
                  <a:pt x="2289241" y="1243045"/>
                </a:lnTo>
                <a:lnTo>
                  <a:pt x="2292233" y="1195088"/>
                </a:lnTo>
                <a:lnTo>
                  <a:pt x="2293238" y="1146619"/>
                </a:lnTo>
                <a:lnTo>
                  <a:pt x="2292233" y="1098150"/>
                </a:lnTo>
                <a:lnTo>
                  <a:pt x="2289241" y="1050193"/>
                </a:lnTo>
                <a:lnTo>
                  <a:pt x="2284305" y="1002790"/>
                </a:lnTo>
                <a:lnTo>
                  <a:pt x="2277462" y="955978"/>
                </a:lnTo>
                <a:lnTo>
                  <a:pt x="2268754" y="909799"/>
                </a:lnTo>
                <a:lnTo>
                  <a:pt x="2258220" y="864291"/>
                </a:lnTo>
                <a:lnTo>
                  <a:pt x="2245899" y="819496"/>
                </a:lnTo>
                <a:lnTo>
                  <a:pt x="2231832" y="775452"/>
                </a:lnTo>
                <a:lnTo>
                  <a:pt x="2216058" y="732199"/>
                </a:lnTo>
                <a:lnTo>
                  <a:pt x="2198617" y="689778"/>
                </a:lnTo>
                <a:lnTo>
                  <a:pt x="2179549" y="648227"/>
                </a:lnTo>
                <a:lnTo>
                  <a:pt x="2158894" y="607588"/>
                </a:lnTo>
                <a:lnTo>
                  <a:pt x="2136691" y="567898"/>
                </a:lnTo>
                <a:lnTo>
                  <a:pt x="2112981" y="529199"/>
                </a:lnTo>
                <a:lnTo>
                  <a:pt x="2087802" y="491531"/>
                </a:lnTo>
                <a:lnTo>
                  <a:pt x="2061196" y="454932"/>
                </a:lnTo>
                <a:lnTo>
                  <a:pt x="2033201" y="419443"/>
                </a:lnTo>
                <a:lnTo>
                  <a:pt x="2003858" y="385103"/>
                </a:lnTo>
                <a:lnTo>
                  <a:pt x="1973206" y="351953"/>
                </a:lnTo>
                <a:lnTo>
                  <a:pt x="1941285" y="320032"/>
                </a:lnTo>
                <a:lnTo>
                  <a:pt x="1908135" y="289380"/>
                </a:lnTo>
                <a:lnTo>
                  <a:pt x="1873795" y="260037"/>
                </a:lnTo>
                <a:lnTo>
                  <a:pt x="1838306" y="232042"/>
                </a:lnTo>
                <a:lnTo>
                  <a:pt x="1801707" y="205436"/>
                </a:lnTo>
                <a:lnTo>
                  <a:pt x="1764039" y="180257"/>
                </a:lnTo>
                <a:lnTo>
                  <a:pt x="1725340" y="156547"/>
                </a:lnTo>
                <a:lnTo>
                  <a:pt x="1685650" y="134344"/>
                </a:lnTo>
                <a:lnTo>
                  <a:pt x="1645011" y="113689"/>
                </a:lnTo>
                <a:lnTo>
                  <a:pt x="1603460" y="94621"/>
                </a:lnTo>
                <a:lnTo>
                  <a:pt x="1561039" y="77180"/>
                </a:lnTo>
                <a:lnTo>
                  <a:pt x="1517786" y="61406"/>
                </a:lnTo>
                <a:lnTo>
                  <a:pt x="1473742" y="47339"/>
                </a:lnTo>
                <a:lnTo>
                  <a:pt x="1428947" y="35018"/>
                </a:lnTo>
                <a:lnTo>
                  <a:pt x="1383439" y="24484"/>
                </a:lnTo>
                <a:lnTo>
                  <a:pt x="1337260" y="15776"/>
                </a:lnTo>
                <a:lnTo>
                  <a:pt x="1290448" y="8933"/>
                </a:lnTo>
                <a:lnTo>
                  <a:pt x="1243045" y="3997"/>
                </a:lnTo>
                <a:lnTo>
                  <a:pt x="1195088" y="1005"/>
                </a:lnTo>
                <a:lnTo>
                  <a:pt x="1146619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A89A634F-3FAC-49AD-A2DA-F89F069C69B6}"/>
              </a:ext>
            </a:extLst>
          </p:cNvPr>
          <p:cNvSpPr/>
          <p:nvPr userDrawn="1"/>
        </p:nvSpPr>
        <p:spPr>
          <a:xfrm>
            <a:off x="10400414" y="1"/>
            <a:ext cx="1786189" cy="1731487"/>
          </a:xfrm>
          <a:custGeom>
            <a:avLst/>
            <a:gdLst/>
            <a:ahLst/>
            <a:cxnLst/>
            <a:rect l="l" t="t" r="r" b="b"/>
            <a:pathLst>
              <a:path w="1969769" h="1909445">
                <a:moveTo>
                  <a:pt x="1969200" y="0"/>
                </a:moveTo>
                <a:lnTo>
                  <a:pt x="290407" y="0"/>
                </a:lnTo>
                <a:lnTo>
                  <a:pt x="289380" y="1110"/>
                </a:lnTo>
                <a:lnTo>
                  <a:pt x="260037" y="35449"/>
                </a:lnTo>
                <a:lnTo>
                  <a:pt x="232042" y="70938"/>
                </a:lnTo>
                <a:lnTo>
                  <a:pt x="205436" y="107537"/>
                </a:lnTo>
                <a:lnTo>
                  <a:pt x="180257" y="145206"/>
                </a:lnTo>
                <a:lnTo>
                  <a:pt x="156547" y="183905"/>
                </a:lnTo>
                <a:lnTo>
                  <a:pt x="134344" y="223594"/>
                </a:lnTo>
                <a:lnTo>
                  <a:pt x="113689" y="264234"/>
                </a:lnTo>
                <a:lnTo>
                  <a:pt x="94621" y="305784"/>
                </a:lnTo>
                <a:lnTo>
                  <a:pt x="77180" y="348206"/>
                </a:lnTo>
                <a:lnTo>
                  <a:pt x="61406" y="391458"/>
                </a:lnTo>
                <a:lnTo>
                  <a:pt x="47339" y="435502"/>
                </a:lnTo>
                <a:lnTo>
                  <a:pt x="35018" y="480298"/>
                </a:lnTo>
                <a:lnTo>
                  <a:pt x="24484" y="525805"/>
                </a:lnTo>
                <a:lnTo>
                  <a:pt x="15776" y="571984"/>
                </a:lnTo>
                <a:lnTo>
                  <a:pt x="8933" y="618796"/>
                </a:lnTo>
                <a:lnTo>
                  <a:pt x="3997" y="666200"/>
                </a:lnTo>
                <a:lnTo>
                  <a:pt x="1005" y="714156"/>
                </a:lnTo>
                <a:lnTo>
                  <a:pt x="0" y="762625"/>
                </a:lnTo>
                <a:lnTo>
                  <a:pt x="1005" y="811095"/>
                </a:lnTo>
                <a:lnTo>
                  <a:pt x="3997" y="859051"/>
                </a:lnTo>
                <a:lnTo>
                  <a:pt x="8933" y="906455"/>
                </a:lnTo>
                <a:lnTo>
                  <a:pt x="15776" y="953266"/>
                </a:lnTo>
                <a:lnTo>
                  <a:pt x="24484" y="999446"/>
                </a:lnTo>
                <a:lnTo>
                  <a:pt x="35018" y="1044953"/>
                </a:lnTo>
                <a:lnTo>
                  <a:pt x="47339" y="1089748"/>
                </a:lnTo>
                <a:lnTo>
                  <a:pt x="61406" y="1133792"/>
                </a:lnTo>
                <a:lnTo>
                  <a:pt x="77180" y="1177045"/>
                </a:lnTo>
                <a:lnTo>
                  <a:pt x="94621" y="1219467"/>
                </a:lnTo>
                <a:lnTo>
                  <a:pt x="113689" y="1261017"/>
                </a:lnTo>
                <a:lnTo>
                  <a:pt x="134344" y="1301657"/>
                </a:lnTo>
                <a:lnTo>
                  <a:pt x="156547" y="1341346"/>
                </a:lnTo>
                <a:lnTo>
                  <a:pt x="180257" y="1380045"/>
                </a:lnTo>
                <a:lnTo>
                  <a:pt x="205436" y="1417714"/>
                </a:lnTo>
                <a:lnTo>
                  <a:pt x="232042" y="1454312"/>
                </a:lnTo>
                <a:lnTo>
                  <a:pt x="260037" y="1489801"/>
                </a:lnTo>
                <a:lnTo>
                  <a:pt x="289380" y="1524141"/>
                </a:lnTo>
                <a:lnTo>
                  <a:pt x="320032" y="1557291"/>
                </a:lnTo>
                <a:lnTo>
                  <a:pt x="351953" y="1589212"/>
                </a:lnTo>
                <a:lnTo>
                  <a:pt x="385103" y="1619864"/>
                </a:lnTo>
                <a:lnTo>
                  <a:pt x="419443" y="1649207"/>
                </a:lnTo>
                <a:lnTo>
                  <a:pt x="454932" y="1677202"/>
                </a:lnTo>
                <a:lnTo>
                  <a:pt x="491531" y="1703809"/>
                </a:lnTo>
                <a:lnTo>
                  <a:pt x="529199" y="1728987"/>
                </a:lnTo>
                <a:lnTo>
                  <a:pt x="567898" y="1752698"/>
                </a:lnTo>
                <a:lnTo>
                  <a:pt x="607588" y="1774900"/>
                </a:lnTo>
                <a:lnTo>
                  <a:pt x="648227" y="1795556"/>
                </a:lnTo>
                <a:lnTo>
                  <a:pt x="689778" y="1814623"/>
                </a:lnTo>
                <a:lnTo>
                  <a:pt x="732199" y="1832064"/>
                </a:lnTo>
                <a:lnTo>
                  <a:pt x="775452" y="1847838"/>
                </a:lnTo>
                <a:lnTo>
                  <a:pt x="819496" y="1861905"/>
                </a:lnTo>
                <a:lnTo>
                  <a:pt x="864291" y="1874226"/>
                </a:lnTo>
                <a:lnTo>
                  <a:pt x="909799" y="1884760"/>
                </a:lnTo>
                <a:lnTo>
                  <a:pt x="955978" y="1893469"/>
                </a:lnTo>
                <a:lnTo>
                  <a:pt x="1002790" y="1900311"/>
                </a:lnTo>
                <a:lnTo>
                  <a:pt x="1050193" y="1905248"/>
                </a:lnTo>
                <a:lnTo>
                  <a:pt x="1098150" y="1908239"/>
                </a:lnTo>
                <a:lnTo>
                  <a:pt x="1146619" y="1909245"/>
                </a:lnTo>
                <a:lnTo>
                  <a:pt x="1195088" y="1908239"/>
                </a:lnTo>
                <a:lnTo>
                  <a:pt x="1243045" y="1905248"/>
                </a:lnTo>
                <a:lnTo>
                  <a:pt x="1290448" y="1900311"/>
                </a:lnTo>
                <a:lnTo>
                  <a:pt x="1337260" y="1893469"/>
                </a:lnTo>
                <a:lnTo>
                  <a:pt x="1383439" y="1884760"/>
                </a:lnTo>
                <a:lnTo>
                  <a:pt x="1428947" y="1874226"/>
                </a:lnTo>
                <a:lnTo>
                  <a:pt x="1473742" y="1861905"/>
                </a:lnTo>
                <a:lnTo>
                  <a:pt x="1517786" y="1847838"/>
                </a:lnTo>
                <a:lnTo>
                  <a:pt x="1561039" y="1832064"/>
                </a:lnTo>
                <a:lnTo>
                  <a:pt x="1603460" y="1814623"/>
                </a:lnTo>
                <a:lnTo>
                  <a:pt x="1645011" y="1795556"/>
                </a:lnTo>
                <a:lnTo>
                  <a:pt x="1685650" y="1774900"/>
                </a:lnTo>
                <a:lnTo>
                  <a:pt x="1725340" y="1752698"/>
                </a:lnTo>
                <a:lnTo>
                  <a:pt x="1764039" y="1728987"/>
                </a:lnTo>
                <a:lnTo>
                  <a:pt x="1801707" y="1703809"/>
                </a:lnTo>
                <a:lnTo>
                  <a:pt x="1838306" y="1677202"/>
                </a:lnTo>
                <a:lnTo>
                  <a:pt x="1873795" y="1649207"/>
                </a:lnTo>
                <a:lnTo>
                  <a:pt x="1908135" y="1619864"/>
                </a:lnTo>
                <a:lnTo>
                  <a:pt x="1941285" y="1589212"/>
                </a:lnTo>
                <a:lnTo>
                  <a:pt x="1969200" y="1561297"/>
                </a:lnTo>
                <a:lnTo>
                  <a:pt x="1969200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id="{070B18B0-0A28-9977-5483-AE34A87FCE5C}"/>
              </a:ext>
            </a:extLst>
          </p:cNvPr>
          <p:cNvSpPr/>
          <p:nvPr userDrawn="1"/>
        </p:nvSpPr>
        <p:spPr>
          <a:xfrm>
            <a:off x="4070293" y="0"/>
            <a:ext cx="2079857" cy="1720546"/>
          </a:xfrm>
          <a:custGeom>
            <a:avLst/>
            <a:gdLst/>
            <a:ahLst/>
            <a:cxnLst/>
            <a:rect l="l" t="t" r="r" b="b"/>
            <a:pathLst>
              <a:path w="2293620" h="1897380">
                <a:moveTo>
                  <a:pt x="2013162" y="0"/>
                </a:moveTo>
                <a:lnTo>
                  <a:pt x="280076" y="0"/>
                </a:lnTo>
                <a:lnTo>
                  <a:pt x="260037" y="23451"/>
                </a:lnTo>
                <a:lnTo>
                  <a:pt x="232042" y="58940"/>
                </a:lnTo>
                <a:lnTo>
                  <a:pt x="205436" y="95539"/>
                </a:lnTo>
                <a:lnTo>
                  <a:pt x="180257" y="133207"/>
                </a:lnTo>
                <a:lnTo>
                  <a:pt x="156547" y="171906"/>
                </a:lnTo>
                <a:lnTo>
                  <a:pt x="134344" y="211595"/>
                </a:lnTo>
                <a:lnTo>
                  <a:pt x="113689" y="252235"/>
                </a:lnTo>
                <a:lnTo>
                  <a:pt x="94621" y="293786"/>
                </a:lnTo>
                <a:lnTo>
                  <a:pt x="77180" y="336207"/>
                </a:lnTo>
                <a:lnTo>
                  <a:pt x="61406" y="379460"/>
                </a:lnTo>
                <a:lnTo>
                  <a:pt x="47339" y="423504"/>
                </a:lnTo>
                <a:lnTo>
                  <a:pt x="35018" y="468299"/>
                </a:lnTo>
                <a:lnTo>
                  <a:pt x="24484" y="513807"/>
                </a:lnTo>
                <a:lnTo>
                  <a:pt x="15776" y="559986"/>
                </a:lnTo>
                <a:lnTo>
                  <a:pt x="8933" y="606797"/>
                </a:lnTo>
                <a:lnTo>
                  <a:pt x="3997" y="654201"/>
                </a:lnTo>
                <a:lnTo>
                  <a:pt x="1005" y="702158"/>
                </a:lnTo>
                <a:lnTo>
                  <a:pt x="0" y="750627"/>
                </a:lnTo>
                <a:lnTo>
                  <a:pt x="1005" y="799096"/>
                </a:lnTo>
                <a:lnTo>
                  <a:pt x="3997" y="847052"/>
                </a:lnTo>
                <a:lnTo>
                  <a:pt x="8933" y="894456"/>
                </a:lnTo>
                <a:lnTo>
                  <a:pt x="15776" y="941268"/>
                </a:lnTo>
                <a:lnTo>
                  <a:pt x="24484" y="987447"/>
                </a:lnTo>
                <a:lnTo>
                  <a:pt x="35018" y="1032954"/>
                </a:lnTo>
                <a:lnTo>
                  <a:pt x="47339" y="1077750"/>
                </a:lnTo>
                <a:lnTo>
                  <a:pt x="61406" y="1121794"/>
                </a:lnTo>
                <a:lnTo>
                  <a:pt x="77180" y="1165047"/>
                </a:lnTo>
                <a:lnTo>
                  <a:pt x="94621" y="1207468"/>
                </a:lnTo>
                <a:lnTo>
                  <a:pt x="113689" y="1249019"/>
                </a:lnTo>
                <a:lnTo>
                  <a:pt x="134344" y="1289658"/>
                </a:lnTo>
                <a:lnTo>
                  <a:pt x="156547" y="1329348"/>
                </a:lnTo>
                <a:lnTo>
                  <a:pt x="180257" y="1368046"/>
                </a:lnTo>
                <a:lnTo>
                  <a:pt x="205436" y="1405715"/>
                </a:lnTo>
                <a:lnTo>
                  <a:pt x="232042" y="1442314"/>
                </a:lnTo>
                <a:lnTo>
                  <a:pt x="260037" y="1477803"/>
                </a:lnTo>
                <a:lnTo>
                  <a:pt x="289380" y="1512142"/>
                </a:lnTo>
                <a:lnTo>
                  <a:pt x="320032" y="1545293"/>
                </a:lnTo>
                <a:lnTo>
                  <a:pt x="351953" y="1577214"/>
                </a:lnTo>
                <a:lnTo>
                  <a:pt x="385103" y="1607866"/>
                </a:lnTo>
                <a:lnTo>
                  <a:pt x="419443" y="1637209"/>
                </a:lnTo>
                <a:lnTo>
                  <a:pt x="454932" y="1665204"/>
                </a:lnTo>
                <a:lnTo>
                  <a:pt x="491531" y="1691810"/>
                </a:lnTo>
                <a:lnTo>
                  <a:pt x="529199" y="1716989"/>
                </a:lnTo>
                <a:lnTo>
                  <a:pt x="567898" y="1740699"/>
                </a:lnTo>
                <a:lnTo>
                  <a:pt x="607588" y="1762902"/>
                </a:lnTo>
                <a:lnTo>
                  <a:pt x="648227" y="1783557"/>
                </a:lnTo>
                <a:lnTo>
                  <a:pt x="689778" y="1802625"/>
                </a:lnTo>
                <a:lnTo>
                  <a:pt x="732199" y="1820066"/>
                </a:lnTo>
                <a:lnTo>
                  <a:pt x="775452" y="1835840"/>
                </a:lnTo>
                <a:lnTo>
                  <a:pt x="819496" y="1849907"/>
                </a:lnTo>
                <a:lnTo>
                  <a:pt x="864291" y="1862228"/>
                </a:lnTo>
                <a:lnTo>
                  <a:pt x="909799" y="1872762"/>
                </a:lnTo>
                <a:lnTo>
                  <a:pt x="955978" y="1881470"/>
                </a:lnTo>
                <a:lnTo>
                  <a:pt x="1002790" y="1888313"/>
                </a:lnTo>
                <a:lnTo>
                  <a:pt x="1050193" y="1893249"/>
                </a:lnTo>
                <a:lnTo>
                  <a:pt x="1098150" y="1896240"/>
                </a:lnTo>
                <a:lnTo>
                  <a:pt x="1146619" y="1897246"/>
                </a:lnTo>
                <a:lnTo>
                  <a:pt x="1195088" y="1896240"/>
                </a:lnTo>
                <a:lnTo>
                  <a:pt x="1243045" y="1893249"/>
                </a:lnTo>
                <a:lnTo>
                  <a:pt x="1290448" y="1888313"/>
                </a:lnTo>
                <a:lnTo>
                  <a:pt x="1337260" y="1881470"/>
                </a:lnTo>
                <a:lnTo>
                  <a:pt x="1383439" y="1872762"/>
                </a:lnTo>
                <a:lnTo>
                  <a:pt x="1428947" y="1862228"/>
                </a:lnTo>
                <a:lnTo>
                  <a:pt x="1473742" y="1849907"/>
                </a:lnTo>
                <a:lnTo>
                  <a:pt x="1517786" y="1835840"/>
                </a:lnTo>
                <a:lnTo>
                  <a:pt x="1561039" y="1820066"/>
                </a:lnTo>
                <a:lnTo>
                  <a:pt x="1603460" y="1802625"/>
                </a:lnTo>
                <a:lnTo>
                  <a:pt x="1645011" y="1783557"/>
                </a:lnTo>
                <a:lnTo>
                  <a:pt x="1685650" y="1762902"/>
                </a:lnTo>
                <a:lnTo>
                  <a:pt x="1725340" y="1740699"/>
                </a:lnTo>
                <a:lnTo>
                  <a:pt x="1764039" y="1716989"/>
                </a:lnTo>
                <a:lnTo>
                  <a:pt x="1801707" y="1691810"/>
                </a:lnTo>
                <a:lnTo>
                  <a:pt x="1838306" y="1665204"/>
                </a:lnTo>
                <a:lnTo>
                  <a:pt x="1873795" y="1637209"/>
                </a:lnTo>
                <a:lnTo>
                  <a:pt x="1908135" y="1607866"/>
                </a:lnTo>
                <a:lnTo>
                  <a:pt x="1941285" y="1577214"/>
                </a:lnTo>
                <a:lnTo>
                  <a:pt x="1973206" y="1545293"/>
                </a:lnTo>
                <a:lnTo>
                  <a:pt x="2003858" y="1512142"/>
                </a:lnTo>
                <a:lnTo>
                  <a:pt x="2033201" y="1477803"/>
                </a:lnTo>
                <a:lnTo>
                  <a:pt x="2061196" y="1442314"/>
                </a:lnTo>
                <a:lnTo>
                  <a:pt x="2087802" y="1405715"/>
                </a:lnTo>
                <a:lnTo>
                  <a:pt x="2112981" y="1368046"/>
                </a:lnTo>
                <a:lnTo>
                  <a:pt x="2136691" y="1329348"/>
                </a:lnTo>
                <a:lnTo>
                  <a:pt x="2158894" y="1289658"/>
                </a:lnTo>
                <a:lnTo>
                  <a:pt x="2179549" y="1249019"/>
                </a:lnTo>
                <a:lnTo>
                  <a:pt x="2198617" y="1207468"/>
                </a:lnTo>
                <a:lnTo>
                  <a:pt x="2216058" y="1165047"/>
                </a:lnTo>
                <a:lnTo>
                  <a:pt x="2231832" y="1121794"/>
                </a:lnTo>
                <a:lnTo>
                  <a:pt x="2245899" y="1077750"/>
                </a:lnTo>
                <a:lnTo>
                  <a:pt x="2258220" y="1032954"/>
                </a:lnTo>
                <a:lnTo>
                  <a:pt x="2268754" y="987447"/>
                </a:lnTo>
                <a:lnTo>
                  <a:pt x="2277462" y="941268"/>
                </a:lnTo>
                <a:lnTo>
                  <a:pt x="2284305" y="894456"/>
                </a:lnTo>
                <a:lnTo>
                  <a:pt x="2289241" y="847052"/>
                </a:lnTo>
                <a:lnTo>
                  <a:pt x="2292233" y="799096"/>
                </a:lnTo>
                <a:lnTo>
                  <a:pt x="2293239" y="750627"/>
                </a:lnTo>
                <a:lnTo>
                  <a:pt x="2292233" y="702158"/>
                </a:lnTo>
                <a:lnTo>
                  <a:pt x="2289241" y="654201"/>
                </a:lnTo>
                <a:lnTo>
                  <a:pt x="2284305" y="606797"/>
                </a:lnTo>
                <a:lnTo>
                  <a:pt x="2277462" y="559986"/>
                </a:lnTo>
                <a:lnTo>
                  <a:pt x="2268754" y="513807"/>
                </a:lnTo>
                <a:lnTo>
                  <a:pt x="2258220" y="468299"/>
                </a:lnTo>
                <a:lnTo>
                  <a:pt x="2245899" y="423504"/>
                </a:lnTo>
                <a:lnTo>
                  <a:pt x="2231832" y="379460"/>
                </a:lnTo>
                <a:lnTo>
                  <a:pt x="2216058" y="336207"/>
                </a:lnTo>
                <a:lnTo>
                  <a:pt x="2198617" y="293786"/>
                </a:lnTo>
                <a:lnTo>
                  <a:pt x="2179549" y="252235"/>
                </a:lnTo>
                <a:lnTo>
                  <a:pt x="2158894" y="211595"/>
                </a:lnTo>
                <a:lnTo>
                  <a:pt x="2136691" y="171906"/>
                </a:lnTo>
                <a:lnTo>
                  <a:pt x="2112981" y="133207"/>
                </a:lnTo>
                <a:lnTo>
                  <a:pt x="2087802" y="95539"/>
                </a:lnTo>
                <a:lnTo>
                  <a:pt x="2061196" y="58940"/>
                </a:lnTo>
                <a:lnTo>
                  <a:pt x="2033201" y="23451"/>
                </a:lnTo>
                <a:lnTo>
                  <a:pt x="201316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FEF9B5F4-F996-526E-724D-8B9EB62F9A2B}"/>
              </a:ext>
            </a:extLst>
          </p:cNvPr>
          <p:cNvSpPr/>
          <p:nvPr userDrawn="1"/>
        </p:nvSpPr>
        <p:spPr>
          <a:xfrm>
            <a:off x="10321566" y="3966353"/>
            <a:ext cx="1580045" cy="1580045"/>
          </a:xfrm>
          <a:custGeom>
            <a:avLst/>
            <a:gdLst/>
            <a:ahLst/>
            <a:cxnLst/>
            <a:rect l="l" t="t" r="r" b="b"/>
            <a:pathLst>
              <a:path w="1742440" h="1742439">
                <a:moveTo>
                  <a:pt x="871016" y="0"/>
                </a:moveTo>
                <a:lnTo>
                  <a:pt x="823226" y="1288"/>
                </a:lnTo>
                <a:lnTo>
                  <a:pt x="776109" y="5110"/>
                </a:lnTo>
                <a:lnTo>
                  <a:pt x="729733" y="11400"/>
                </a:lnTo>
                <a:lnTo>
                  <a:pt x="684162" y="20089"/>
                </a:lnTo>
                <a:lnTo>
                  <a:pt x="639465" y="31113"/>
                </a:lnTo>
                <a:lnTo>
                  <a:pt x="595707" y="44404"/>
                </a:lnTo>
                <a:lnTo>
                  <a:pt x="552955" y="59897"/>
                </a:lnTo>
                <a:lnTo>
                  <a:pt x="511275" y="77525"/>
                </a:lnTo>
                <a:lnTo>
                  <a:pt x="470733" y="97221"/>
                </a:lnTo>
                <a:lnTo>
                  <a:pt x="431397" y="118919"/>
                </a:lnTo>
                <a:lnTo>
                  <a:pt x="393332" y="142552"/>
                </a:lnTo>
                <a:lnTo>
                  <a:pt x="356605" y="168055"/>
                </a:lnTo>
                <a:lnTo>
                  <a:pt x="321282" y="195360"/>
                </a:lnTo>
                <a:lnTo>
                  <a:pt x="287429" y="224402"/>
                </a:lnTo>
                <a:lnTo>
                  <a:pt x="255114" y="255114"/>
                </a:lnTo>
                <a:lnTo>
                  <a:pt x="224402" y="287429"/>
                </a:lnTo>
                <a:lnTo>
                  <a:pt x="195360" y="321282"/>
                </a:lnTo>
                <a:lnTo>
                  <a:pt x="168055" y="356605"/>
                </a:lnTo>
                <a:lnTo>
                  <a:pt x="142552" y="393332"/>
                </a:lnTo>
                <a:lnTo>
                  <a:pt x="118919" y="431397"/>
                </a:lnTo>
                <a:lnTo>
                  <a:pt x="97221" y="470733"/>
                </a:lnTo>
                <a:lnTo>
                  <a:pt x="77525" y="511275"/>
                </a:lnTo>
                <a:lnTo>
                  <a:pt x="59897" y="552955"/>
                </a:lnTo>
                <a:lnTo>
                  <a:pt x="44404" y="595707"/>
                </a:lnTo>
                <a:lnTo>
                  <a:pt x="31113" y="639465"/>
                </a:lnTo>
                <a:lnTo>
                  <a:pt x="20089" y="684162"/>
                </a:lnTo>
                <a:lnTo>
                  <a:pt x="11400" y="729733"/>
                </a:lnTo>
                <a:lnTo>
                  <a:pt x="5110" y="776109"/>
                </a:lnTo>
                <a:lnTo>
                  <a:pt x="1288" y="823226"/>
                </a:lnTo>
                <a:lnTo>
                  <a:pt x="0" y="871016"/>
                </a:lnTo>
                <a:lnTo>
                  <a:pt x="1288" y="918807"/>
                </a:lnTo>
                <a:lnTo>
                  <a:pt x="5110" y="965923"/>
                </a:lnTo>
                <a:lnTo>
                  <a:pt x="11400" y="1012300"/>
                </a:lnTo>
                <a:lnTo>
                  <a:pt x="20089" y="1057870"/>
                </a:lnTo>
                <a:lnTo>
                  <a:pt x="31113" y="1102568"/>
                </a:lnTo>
                <a:lnTo>
                  <a:pt x="44404" y="1146325"/>
                </a:lnTo>
                <a:lnTo>
                  <a:pt x="59897" y="1189078"/>
                </a:lnTo>
                <a:lnTo>
                  <a:pt x="77525" y="1230758"/>
                </a:lnTo>
                <a:lnTo>
                  <a:pt x="97221" y="1271299"/>
                </a:lnTo>
                <a:lnTo>
                  <a:pt x="118919" y="1310636"/>
                </a:lnTo>
                <a:lnTo>
                  <a:pt x="142552" y="1348701"/>
                </a:lnTo>
                <a:lnTo>
                  <a:pt x="168055" y="1385428"/>
                </a:lnTo>
                <a:lnTo>
                  <a:pt x="195360" y="1420751"/>
                </a:lnTo>
                <a:lnTo>
                  <a:pt x="224402" y="1454603"/>
                </a:lnTo>
                <a:lnTo>
                  <a:pt x="255114" y="1486919"/>
                </a:lnTo>
                <a:lnTo>
                  <a:pt x="287429" y="1517630"/>
                </a:lnTo>
                <a:lnTo>
                  <a:pt x="321282" y="1546672"/>
                </a:lnTo>
                <a:lnTo>
                  <a:pt x="356605" y="1573978"/>
                </a:lnTo>
                <a:lnTo>
                  <a:pt x="393332" y="1599480"/>
                </a:lnTo>
                <a:lnTo>
                  <a:pt x="431397" y="1623114"/>
                </a:lnTo>
                <a:lnTo>
                  <a:pt x="470733" y="1644812"/>
                </a:lnTo>
                <a:lnTo>
                  <a:pt x="511275" y="1664508"/>
                </a:lnTo>
                <a:lnTo>
                  <a:pt x="552955" y="1682136"/>
                </a:lnTo>
                <a:lnTo>
                  <a:pt x="595707" y="1697628"/>
                </a:lnTo>
                <a:lnTo>
                  <a:pt x="639465" y="1710920"/>
                </a:lnTo>
                <a:lnTo>
                  <a:pt x="684162" y="1721943"/>
                </a:lnTo>
                <a:lnTo>
                  <a:pt x="729733" y="1730633"/>
                </a:lnTo>
                <a:lnTo>
                  <a:pt x="776109" y="1736922"/>
                </a:lnTo>
                <a:lnTo>
                  <a:pt x="823226" y="1740744"/>
                </a:lnTo>
                <a:lnTo>
                  <a:pt x="871016" y="1742033"/>
                </a:lnTo>
                <a:lnTo>
                  <a:pt x="918807" y="1740744"/>
                </a:lnTo>
                <a:lnTo>
                  <a:pt x="965923" y="1736922"/>
                </a:lnTo>
                <a:lnTo>
                  <a:pt x="1012300" y="1730633"/>
                </a:lnTo>
                <a:lnTo>
                  <a:pt x="1057870" y="1721943"/>
                </a:lnTo>
                <a:lnTo>
                  <a:pt x="1102568" y="1710920"/>
                </a:lnTo>
                <a:lnTo>
                  <a:pt x="1146325" y="1697628"/>
                </a:lnTo>
                <a:lnTo>
                  <a:pt x="1189078" y="1682136"/>
                </a:lnTo>
                <a:lnTo>
                  <a:pt x="1230758" y="1664508"/>
                </a:lnTo>
                <a:lnTo>
                  <a:pt x="1271299" y="1644812"/>
                </a:lnTo>
                <a:lnTo>
                  <a:pt x="1310636" y="1623114"/>
                </a:lnTo>
                <a:lnTo>
                  <a:pt x="1348701" y="1599480"/>
                </a:lnTo>
                <a:lnTo>
                  <a:pt x="1385428" y="1573978"/>
                </a:lnTo>
                <a:lnTo>
                  <a:pt x="1420751" y="1546672"/>
                </a:lnTo>
                <a:lnTo>
                  <a:pt x="1454603" y="1517630"/>
                </a:lnTo>
                <a:lnTo>
                  <a:pt x="1486919" y="1486919"/>
                </a:lnTo>
                <a:lnTo>
                  <a:pt x="1517630" y="1454603"/>
                </a:lnTo>
                <a:lnTo>
                  <a:pt x="1546672" y="1420751"/>
                </a:lnTo>
                <a:lnTo>
                  <a:pt x="1573978" y="1385428"/>
                </a:lnTo>
                <a:lnTo>
                  <a:pt x="1599480" y="1348701"/>
                </a:lnTo>
                <a:lnTo>
                  <a:pt x="1623114" y="1310636"/>
                </a:lnTo>
                <a:lnTo>
                  <a:pt x="1644812" y="1271299"/>
                </a:lnTo>
                <a:lnTo>
                  <a:pt x="1664508" y="1230758"/>
                </a:lnTo>
                <a:lnTo>
                  <a:pt x="1682136" y="1189078"/>
                </a:lnTo>
                <a:lnTo>
                  <a:pt x="1697628" y="1146325"/>
                </a:lnTo>
                <a:lnTo>
                  <a:pt x="1710920" y="1102568"/>
                </a:lnTo>
                <a:lnTo>
                  <a:pt x="1721943" y="1057870"/>
                </a:lnTo>
                <a:lnTo>
                  <a:pt x="1730633" y="1012300"/>
                </a:lnTo>
                <a:lnTo>
                  <a:pt x="1736922" y="965923"/>
                </a:lnTo>
                <a:lnTo>
                  <a:pt x="1740744" y="918807"/>
                </a:lnTo>
                <a:lnTo>
                  <a:pt x="1742033" y="871016"/>
                </a:lnTo>
                <a:lnTo>
                  <a:pt x="1740744" y="823226"/>
                </a:lnTo>
                <a:lnTo>
                  <a:pt x="1736922" y="776109"/>
                </a:lnTo>
                <a:lnTo>
                  <a:pt x="1730633" y="729733"/>
                </a:lnTo>
                <a:lnTo>
                  <a:pt x="1721943" y="684162"/>
                </a:lnTo>
                <a:lnTo>
                  <a:pt x="1710920" y="639465"/>
                </a:lnTo>
                <a:lnTo>
                  <a:pt x="1697628" y="595707"/>
                </a:lnTo>
                <a:lnTo>
                  <a:pt x="1682136" y="552955"/>
                </a:lnTo>
                <a:lnTo>
                  <a:pt x="1664508" y="511275"/>
                </a:lnTo>
                <a:lnTo>
                  <a:pt x="1644812" y="470733"/>
                </a:lnTo>
                <a:lnTo>
                  <a:pt x="1623114" y="431397"/>
                </a:lnTo>
                <a:lnTo>
                  <a:pt x="1599480" y="393332"/>
                </a:lnTo>
                <a:lnTo>
                  <a:pt x="1573978" y="356605"/>
                </a:lnTo>
                <a:lnTo>
                  <a:pt x="1546672" y="321282"/>
                </a:lnTo>
                <a:lnTo>
                  <a:pt x="1517630" y="287429"/>
                </a:lnTo>
                <a:lnTo>
                  <a:pt x="1486919" y="255114"/>
                </a:lnTo>
                <a:lnTo>
                  <a:pt x="1454603" y="224402"/>
                </a:lnTo>
                <a:lnTo>
                  <a:pt x="1420751" y="195360"/>
                </a:lnTo>
                <a:lnTo>
                  <a:pt x="1385428" y="168055"/>
                </a:lnTo>
                <a:lnTo>
                  <a:pt x="1348701" y="142552"/>
                </a:lnTo>
                <a:lnTo>
                  <a:pt x="1310636" y="118919"/>
                </a:lnTo>
                <a:lnTo>
                  <a:pt x="1271299" y="97221"/>
                </a:lnTo>
                <a:lnTo>
                  <a:pt x="1230758" y="77525"/>
                </a:lnTo>
                <a:lnTo>
                  <a:pt x="1189078" y="59897"/>
                </a:lnTo>
                <a:lnTo>
                  <a:pt x="1146325" y="44404"/>
                </a:lnTo>
                <a:lnTo>
                  <a:pt x="1102568" y="31113"/>
                </a:lnTo>
                <a:lnTo>
                  <a:pt x="1057870" y="20089"/>
                </a:lnTo>
                <a:lnTo>
                  <a:pt x="1012300" y="11400"/>
                </a:lnTo>
                <a:lnTo>
                  <a:pt x="965923" y="5110"/>
                </a:lnTo>
                <a:lnTo>
                  <a:pt x="918807" y="1288"/>
                </a:lnTo>
                <a:lnTo>
                  <a:pt x="871016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3">
            <a:extLst>
              <a:ext uri="{FF2B5EF4-FFF2-40B4-BE49-F238E27FC236}">
                <a16:creationId xmlns:a16="http://schemas.microsoft.com/office/drawing/2014/main" id="{2E23C361-F404-8DEA-3669-F09536585986}"/>
              </a:ext>
            </a:extLst>
          </p:cNvPr>
          <p:cNvSpPr/>
          <p:nvPr userDrawn="1"/>
        </p:nvSpPr>
        <p:spPr>
          <a:xfrm>
            <a:off x="7835316" y="4563116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70" h="801370">
                <a:moveTo>
                  <a:pt x="400672" y="0"/>
                </a:moveTo>
                <a:lnTo>
                  <a:pt x="353945" y="2695"/>
                </a:lnTo>
                <a:lnTo>
                  <a:pt x="308801" y="10581"/>
                </a:lnTo>
                <a:lnTo>
                  <a:pt x="265542" y="23357"/>
                </a:lnTo>
                <a:lnTo>
                  <a:pt x="224466" y="40722"/>
                </a:lnTo>
                <a:lnTo>
                  <a:pt x="185876" y="62376"/>
                </a:lnTo>
                <a:lnTo>
                  <a:pt x="150072" y="88018"/>
                </a:lnTo>
                <a:lnTo>
                  <a:pt x="117354" y="117348"/>
                </a:lnTo>
                <a:lnTo>
                  <a:pt x="88023" y="150064"/>
                </a:lnTo>
                <a:lnTo>
                  <a:pt x="62379" y="185867"/>
                </a:lnTo>
                <a:lnTo>
                  <a:pt x="40724" y="224456"/>
                </a:lnTo>
                <a:lnTo>
                  <a:pt x="23358" y="265531"/>
                </a:lnTo>
                <a:lnTo>
                  <a:pt x="10582" y="308789"/>
                </a:lnTo>
                <a:lnTo>
                  <a:pt x="2695" y="353933"/>
                </a:lnTo>
                <a:lnTo>
                  <a:pt x="0" y="400659"/>
                </a:lnTo>
                <a:lnTo>
                  <a:pt x="2695" y="447386"/>
                </a:lnTo>
                <a:lnTo>
                  <a:pt x="10582" y="492529"/>
                </a:lnTo>
                <a:lnTo>
                  <a:pt x="23358" y="535789"/>
                </a:lnTo>
                <a:lnTo>
                  <a:pt x="40724" y="576864"/>
                </a:lnTo>
                <a:lnTo>
                  <a:pt x="62379" y="615455"/>
                </a:lnTo>
                <a:lnTo>
                  <a:pt x="88023" y="651259"/>
                </a:lnTo>
                <a:lnTo>
                  <a:pt x="117354" y="683977"/>
                </a:lnTo>
                <a:lnTo>
                  <a:pt x="150072" y="713308"/>
                </a:lnTo>
                <a:lnTo>
                  <a:pt x="185876" y="738951"/>
                </a:lnTo>
                <a:lnTo>
                  <a:pt x="224466" y="760607"/>
                </a:lnTo>
                <a:lnTo>
                  <a:pt x="265542" y="777973"/>
                </a:lnTo>
                <a:lnTo>
                  <a:pt x="308801" y="790749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49"/>
                </a:lnTo>
                <a:lnTo>
                  <a:pt x="535802" y="777973"/>
                </a:lnTo>
                <a:lnTo>
                  <a:pt x="576877" y="760607"/>
                </a:lnTo>
                <a:lnTo>
                  <a:pt x="615467" y="738951"/>
                </a:lnTo>
                <a:lnTo>
                  <a:pt x="651272" y="713308"/>
                </a:lnTo>
                <a:lnTo>
                  <a:pt x="683990" y="683977"/>
                </a:lnTo>
                <a:lnTo>
                  <a:pt x="713321" y="651259"/>
                </a:lnTo>
                <a:lnTo>
                  <a:pt x="738964" y="615455"/>
                </a:lnTo>
                <a:lnTo>
                  <a:pt x="760619" y="576864"/>
                </a:lnTo>
                <a:lnTo>
                  <a:pt x="777985" y="535789"/>
                </a:lnTo>
                <a:lnTo>
                  <a:pt x="790762" y="492529"/>
                </a:lnTo>
                <a:lnTo>
                  <a:pt x="798648" y="447386"/>
                </a:lnTo>
                <a:lnTo>
                  <a:pt x="801344" y="400659"/>
                </a:lnTo>
                <a:lnTo>
                  <a:pt x="798648" y="353933"/>
                </a:lnTo>
                <a:lnTo>
                  <a:pt x="790762" y="308789"/>
                </a:lnTo>
                <a:lnTo>
                  <a:pt x="777985" y="265531"/>
                </a:lnTo>
                <a:lnTo>
                  <a:pt x="760619" y="224456"/>
                </a:lnTo>
                <a:lnTo>
                  <a:pt x="738964" y="185867"/>
                </a:lnTo>
                <a:lnTo>
                  <a:pt x="713321" y="150064"/>
                </a:lnTo>
                <a:lnTo>
                  <a:pt x="683990" y="117348"/>
                </a:lnTo>
                <a:lnTo>
                  <a:pt x="651272" y="88018"/>
                </a:lnTo>
                <a:lnTo>
                  <a:pt x="615467" y="62376"/>
                </a:lnTo>
                <a:lnTo>
                  <a:pt x="576877" y="40722"/>
                </a:lnTo>
                <a:lnTo>
                  <a:pt x="535802" y="23357"/>
                </a:lnTo>
                <a:lnTo>
                  <a:pt x="492542" y="10581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4">
            <a:extLst>
              <a:ext uri="{FF2B5EF4-FFF2-40B4-BE49-F238E27FC236}">
                <a16:creationId xmlns:a16="http://schemas.microsoft.com/office/drawing/2014/main" id="{8F872847-C3B1-760C-F4AC-93DE0329412F}"/>
              </a:ext>
            </a:extLst>
          </p:cNvPr>
          <p:cNvSpPr/>
          <p:nvPr userDrawn="1"/>
        </p:nvSpPr>
        <p:spPr>
          <a:xfrm>
            <a:off x="1216272" y="5587712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53AA02F4-3E33-4C39-33D6-76AA82402885}"/>
              </a:ext>
            </a:extLst>
          </p:cNvPr>
          <p:cNvSpPr/>
          <p:nvPr userDrawn="1"/>
        </p:nvSpPr>
        <p:spPr>
          <a:xfrm>
            <a:off x="1412140" y="6469124"/>
            <a:ext cx="726683" cy="386373"/>
          </a:xfrm>
          <a:custGeom>
            <a:avLst/>
            <a:gdLst/>
            <a:ahLst/>
            <a:cxnLst/>
            <a:rect l="l" t="t" r="r" b="b"/>
            <a:pathLst>
              <a:path w="801369" h="426084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1461" y="425998"/>
                </a:lnTo>
                <a:lnTo>
                  <a:pt x="799883" y="4259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6424BFED-D43D-B183-B5D0-83BFB42B63F4}"/>
              </a:ext>
            </a:extLst>
          </p:cNvPr>
          <p:cNvSpPr/>
          <p:nvPr userDrawn="1"/>
        </p:nvSpPr>
        <p:spPr>
          <a:xfrm>
            <a:off x="6266493" y="1757951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323976F1-F0C5-8B3E-79EC-251D18A92F44}"/>
              </a:ext>
            </a:extLst>
          </p:cNvPr>
          <p:cNvSpPr/>
          <p:nvPr userDrawn="1"/>
        </p:nvSpPr>
        <p:spPr>
          <a:xfrm>
            <a:off x="5464115" y="1757951"/>
            <a:ext cx="461393" cy="46139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85B9E685-8F26-653C-637B-4560BD554CAC}"/>
              </a:ext>
            </a:extLst>
          </p:cNvPr>
          <p:cNvSpPr/>
          <p:nvPr userDrawn="1"/>
        </p:nvSpPr>
        <p:spPr>
          <a:xfrm>
            <a:off x="11179577" y="5951053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DD70F8A-7EFD-5D5B-1E28-80954C36380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-675252" y="3608859"/>
            <a:ext cx="2541584" cy="250746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716E89-11E9-0EE9-B918-701C3474FC65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97941" y="157862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E0D997F-9BA9-D907-D51C-98EE5253644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165783" y="337721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6699D40-1F2D-3294-96EC-2A152766E695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2610263" y="2722475"/>
            <a:ext cx="4695781" cy="463273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20659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E88070B-C0E0-2DFA-FBCE-FF205B25449F}"/>
              </a:ext>
            </a:extLst>
          </p:cNvPr>
          <p:cNvSpPr/>
          <p:nvPr userDrawn="1"/>
        </p:nvSpPr>
        <p:spPr>
          <a:xfrm>
            <a:off x="0" y="0"/>
            <a:ext cx="12192000" cy="561109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6CD29F-DD6E-7A48-CCD6-9C6255686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6079" y="16192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B92D793-C5B9-290F-8A51-998397F1596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1200" y="16065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C7F4CD7D-090D-B5A3-2A3F-E7DFD0B4E5CE}"/>
              </a:ext>
            </a:extLst>
          </p:cNvPr>
          <p:cNvSpPr txBox="1">
            <a:spLocks/>
          </p:cNvSpPr>
          <p:nvPr userDrawn="1"/>
        </p:nvSpPr>
        <p:spPr>
          <a:xfrm>
            <a:off x="760073" y="365125"/>
            <a:ext cx="1069491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2"/>
                </a:solidFill>
                <a:latin typeface="Quicksand" pitchFamily="2" charset="0"/>
                <a:ea typeface="+mj-ea"/>
                <a:cs typeface="Quire Sans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D02AAC-2E9A-297E-5FBA-6A1DB2DEBD44}"/>
              </a:ext>
            </a:extLst>
          </p:cNvPr>
          <p:cNvSpPr/>
          <p:nvPr userDrawn="1"/>
        </p:nvSpPr>
        <p:spPr>
          <a:xfrm>
            <a:off x="0" y="5611091"/>
            <a:ext cx="12192000" cy="12414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20E7A881-0BBB-45B8-4AF2-117BF87335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6192" y="365125"/>
            <a:ext cx="729786" cy="791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362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Size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5290458" y="6423026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ZA" sz="1904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4745" y="1701773"/>
            <a:ext cx="11581531" cy="2345173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5076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ZA" dirty="0"/>
              <a:t>Heading Arial Bold</a:t>
            </a:r>
            <a:br>
              <a:rPr lang="en-ZA" dirty="0"/>
            </a:br>
            <a:r>
              <a:rPr lang="en-ZA" dirty="0"/>
              <a:t>Maximum 3 lines</a:t>
            </a:r>
            <a:br>
              <a:rPr lang="en-ZA" dirty="0"/>
            </a:br>
            <a:r>
              <a:rPr lang="en-ZA" dirty="0"/>
              <a:t>48 </a:t>
            </a:r>
            <a:r>
              <a:rPr lang="en-ZA" dirty="0" err="1"/>
              <a:t>pt</a:t>
            </a:r>
            <a:endParaRPr lang="en-ZA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4745" y="4503798"/>
            <a:ext cx="11581531" cy="378758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538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ZA" dirty="0"/>
              <a:t>Subheading Arial Regular, 24 </a:t>
            </a:r>
            <a:r>
              <a:rPr lang="en-ZA" dirty="0" err="1"/>
              <a:t>pt</a:t>
            </a:r>
            <a:endParaRPr lang="en-ZA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5724" y="6392521"/>
            <a:ext cx="877899" cy="270091"/>
          </a:xfrm>
          <a:prstGeom prst="rect">
            <a:avLst/>
          </a:prstGeom>
        </p:spPr>
      </p:pic>
      <p:grpSp>
        <p:nvGrpSpPr>
          <p:cNvPr id="146" name="Gruppieren 145"/>
          <p:cNvGrpSpPr/>
          <p:nvPr userDrawn="1"/>
        </p:nvGrpSpPr>
        <p:grpSpPr>
          <a:xfrm>
            <a:off x="-368850" y="-326321"/>
            <a:ext cx="12916643" cy="7536892"/>
            <a:chOff x="-348582" y="-308570"/>
            <a:chExt cx="12206900" cy="7126900"/>
          </a:xfrm>
        </p:grpSpPr>
        <p:grpSp>
          <p:nvGrpSpPr>
            <p:cNvPr id="147" name="Gruppieren 146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4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8" name="Gruppieren 147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7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Gruppieren 148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9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Gruppieren 149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51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58900" y="6367035"/>
            <a:ext cx="780117" cy="420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1100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Blue">
    <p:bg>
      <p:bgPr>
        <a:solidFill>
          <a:srgbClr val="1227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5290458" y="6423026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ZA" sz="1904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4745" y="1701773"/>
            <a:ext cx="11581531" cy="2345173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507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ZA" dirty="0"/>
              <a:t>Slide Divider</a:t>
            </a:r>
            <a:br>
              <a:rPr lang="en-ZA" dirty="0"/>
            </a:br>
            <a:r>
              <a:rPr lang="en-ZA" dirty="0"/>
              <a:t>Arial Bold</a:t>
            </a:r>
            <a:br>
              <a:rPr lang="en-ZA" dirty="0"/>
            </a:br>
            <a:r>
              <a:rPr lang="en-ZA" dirty="0"/>
              <a:t>48/54/66 </a:t>
            </a:r>
            <a:r>
              <a:rPr lang="en-ZA" dirty="0" err="1"/>
              <a:t>pt</a:t>
            </a:r>
            <a:endParaRPr lang="en-ZA" dirty="0"/>
          </a:p>
        </p:txBody>
      </p:sp>
      <p:grpSp>
        <p:nvGrpSpPr>
          <p:cNvPr id="144" name="Gruppieren 143"/>
          <p:cNvGrpSpPr/>
          <p:nvPr userDrawn="1"/>
        </p:nvGrpSpPr>
        <p:grpSpPr>
          <a:xfrm>
            <a:off x="-368850" y="-326321"/>
            <a:ext cx="12916643" cy="7536892"/>
            <a:chOff x="-348582" y="-308570"/>
            <a:chExt cx="12206900" cy="7126900"/>
          </a:xfrm>
        </p:grpSpPr>
        <p:grpSp>
          <p:nvGrpSpPr>
            <p:cNvPr id="145" name="Gruppieren 144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2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6" name="Gruppieren 145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5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uppieren 146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7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8" name="Gruppieren 147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9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8900" y="6367035"/>
            <a:ext cx="780117" cy="420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3146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Full Size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5290458" y="6423026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ZA" sz="1904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4745" y="1701773"/>
            <a:ext cx="11581531" cy="2345173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507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ZA" dirty="0"/>
              <a:t>Slide Divider</a:t>
            </a:r>
            <a:br>
              <a:rPr lang="en-ZA" dirty="0"/>
            </a:br>
            <a:r>
              <a:rPr lang="en-ZA" dirty="0"/>
              <a:t>Arial Bold</a:t>
            </a:r>
            <a:br>
              <a:rPr lang="en-ZA" dirty="0"/>
            </a:br>
            <a:r>
              <a:rPr lang="en-ZA" dirty="0"/>
              <a:t>48/54/66 </a:t>
            </a:r>
            <a:r>
              <a:rPr lang="en-ZA" dirty="0" err="1"/>
              <a:t>pt</a:t>
            </a:r>
            <a:endParaRPr lang="en-ZA" dirty="0"/>
          </a:p>
        </p:txBody>
      </p:sp>
      <p:grpSp>
        <p:nvGrpSpPr>
          <p:cNvPr id="144" name="Gruppieren 143"/>
          <p:cNvGrpSpPr/>
          <p:nvPr userDrawn="1"/>
        </p:nvGrpSpPr>
        <p:grpSpPr>
          <a:xfrm>
            <a:off x="-368850" y="-326321"/>
            <a:ext cx="12916643" cy="7536892"/>
            <a:chOff x="-348582" y="-308570"/>
            <a:chExt cx="12206900" cy="7126900"/>
          </a:xfrm>
        </p:grpSpPr>
        <p:grpSp>
          <p:nvGrpSpPr>
            <p:cNvPr id="145" name="Gruppieren 144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72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6" name="Gruppieren 145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65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0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uppieren 146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57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8" name="Gruppieren 147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49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58900" y="6367035"/>
            <a:ext cx="780117" cy="420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36932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867808"/>
              </p:ext>
            </p:extLst>
          </p:nvPr>
        </p:nvGraphicFramePr>
        <p:xfrm>
          <a:off x="1681" y="1680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4746" y="540582"/>
            <a:ext cx="11581530" cy="70304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538" b="1" baseline="0">
                <a:solidFill>
                  <a:srgbClr val="12276E"/>
                </a:solidFill>
              </a:defRPr>
            </a:lvl1pPr>
          </a:lstStyle>
          <a:p>
            <a:pPr lvl="0"/>
            <a:r>
              <a:rPr lang="en-ZA" dirty="0"/>
              <a:t>Action Title</a:t>
            </a:r>
            <a:br>
              <a:rPr lang="en-ZA" dirty="0"/>
            </a:br>
            <a:r>
              <a:rPr lang="en-ZA" dirty="0"/>
              <a:t>Arial Bold, 24 </a:t>
            </a:r>
            <a:r>
              <a:rPr lang="en-ZA" dirty="0" err="1"/>
              <a:t>pt</a:t>
            </a:r>
            <a:endParaRPr lang="en-ZA" dirty="0"/>
          </a:p>
        </p:txBody>
      </p:sp>
      <p:sp>
        <p:nvSpPr>
          <p:cNvPr id="20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304744" y="1702329"/>
            <a:ext cx="11581531" cy="446903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5725" y="2518"/>
            <a:ext cx="11580552" cy="35485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3" b="1">
                <a:solidFill>
                  <a:schemeClr val="tx1"/>
                </a:solidFill>
              </a:defRPr>
            </a:lvl1pPr>
          </a:lstStyle>
          <a:p>
            <a:r>
              <a:rPr lang="en-ZA" dirty="0"/>
              <a:t>Headline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152" y="6361372"/>
            <a:ext cx="694537" cy="37819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954" y="6364285"/>
            <a:ext cx="462744" cy="35996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732" y="6361338"/>
            <a:ext cx="454412" cy="37822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903768" y="6315896"/>
            <a:ext cx="721374" cy="39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626309"/>
      </p:ext>
    </p:extLst>
  </p:cSld>
  <p:clrMapOvr>
    <a:masterClrMapping/>
  </p:clrMapOvr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304745" y="1702329"/>
            <a:ext cx="5715665" cy="4469032"/>
          </a:xfrm>
        </p:spPr>
        <p:txBody>
          <a:bodyPr/>
          <a:lstStyle/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24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6171592" y="1702329"/>
            <a:ext cx="5715665" cy="4469032"/>
          </a:xfrm>
        </p:spPr>
        <p:txBody>
          <a:bodyPr/>
          <a:lstStyle/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5725" y="2518"/>
            <a:ext cx="11580552" cy="35485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3" b="1">
                <a:solidFill>
                  <a:schemeClr val="tx1"/>
                </a:solidFill>
              </a:defRPr>
            </a:lvl1pPr>
          </a:lstStyle>
          <a:p>
            <a:r>
              <a:rPr lang="en-ZA" dirty="0"/>
              <a:t>Headlin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4746" y="540582"/>
            <a:ext cx="11581530" cy="70304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538" b="1" baseline="0">
                <a:solidFill>
                  <a:srgbClr val="12276E"/>
                </a:solidFill>
              </a:defRPr>
            </a:lvl1pPr>
          </a:lstStyle>
          <a:p>
            <a:pPr lvl="0"/>
            <a:r>
              <a:rPr lang="en-ZA" dirty="0"/>
              <a:t>Action Title</a:t>
            </a:r>
            <a:br>
              <a:rPr lang="en-ZA" dirty="0"/>
            </a:br>
            <a:r>
              <a:rPr lang="en-ZA" dirty="0"/>
              <a:t>Arial Bold, 24 </a:t>
            </a:r>
            <a:r>
              <a:rPr lang="en-ZA" dirty="0" err="1"/>
              <a:t>pt</a:t>
            </a:r>
            <a:endParaRPr lang="en-ZA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152" y="6361372"/>
            <a:ext cx="694537" cy="37819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954" y="6364285"/>
            <a:ext cx="462744" cy="35996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732" y="6361338"/>
            <a:ext cx="454412" cy="37822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03768" y="6315896"/>
            <a:ext cx="721374" cy="39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1248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304744" y="1702329"/>
            <a:ext cx="3755983" cy="4469032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26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4213101" y="1702329"/>
            <a:ext cx="3755983" cy="4469032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27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8121457" y="1702329"/>
            <a:ext cx="3755983" cy="4469032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5725" y="2518"/>
            <a:ext cx="11580552" cy="35485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3" b="1">
                <a:solidFill>
                  <a:schemeClr val="tx1"/>
                </a:solidFill>
              </a:defRPr>
            </a:lvl1pPr>
          </a:lstStyle>
          <a:p>
            <a:r>
              <a:rPr lang="en-ZA" dirty="0"/>
              <a:t>Headlin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4746" y="540582"/>
            <a:ext cx="11581530" cy="70304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538" b="1" baseline="0">
                <a:solidFill>
                  <a:srgbClr val="12276E"/>
                </a:solidFill>
              </a:defRPr>
            </a:lvl1pPr>
          </a:lstStyle>
          <a:p>
            <a:pPr lvl="0"/>
            <a:r>
              <a:rPr lang="en-ZA" dirty="0"/>
              <a:t>Action Title</a:t>
            </a:r>
            <a:br>
              <a:rPr lang="en-ZA" dirty="0"/>
            </a:br>
            <a:r>
              <a:rPr lang="en-ZA" dirty="0"/>
              <a:t>Arial Bold, 24 </a:t>
            </a:r>
            <a:r>
              <a:rPr lang="en-ZA" dirty="0" err="1"/>
              <a:t>pt</a:t>
            </a:r>
            <a:endParaRPr lang="en-ZA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152" y="6361372"/>
            <a:ext cx="694537" cy="37819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954" y="6364285"/>
            <a:ext cx="462744" cy="35996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732" y="6361338"/>
            <a:ext cx="454412" cy="37822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03768" y="6315896"/>
            <a:ext cx="721374" cy="39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49625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19"/>
          <p:cNvSpPr>
            <a:spLocks noGrp="1"/>
          </p:cNvSpPr>
          <p:nvPr>
            <p:ph sz="quarter" idx="13" hasCustomPrompt="1"/>
          </p:nvPr>
        </p:nvSpPr>
        <p:spPr>
          <a:xfrm>
            <a:off x="304744" y="1702329"/>
            <a:ext cx="2780799" cy="4469032"/>
          </a:xfrm>
        </p:spPr>
        <p:txBody>
          <a:bodyPr/>
          <a:lstStyle/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22" name="Inhaltsplatzhalter 19"/>
          <p:cNvSpPr>
            <a:spLocks noGrp="1"/>
          </p:cNvSpPr>
          <p:nvPr>
            <p:ph sz="quarter" idx="14" hasCustomPrompt="1"/>
          </p:nvPr>
        </p:nvSpPr>
        <p:spPr>
          <a:xfrm>
            <a:off x="3238658" y="1702329"/>
            <a:ext cx="2780799" cy="4469032"/>
          </a:xfrm>
        </p:spPr>
        <p:txBody>
          <a:bodyPr/>
          <a:lstStyle/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23" name="Inhaltsplatzhalter 19"/>
          <p:cNvSpPr>
            <a:spLocks noGrp="1"/>
          </p:cNvSpPr>
          <p:nvPr>
            <p:ph sz="quarter" idx="15" hasCustomPrompt="1"/>
          </p:nvPr>
        </p:nvSpPr>
        <p:spPr>
          <a:xfrm>
            <a:off x="6171591" y="1702329"/>
            <a:ext cx="2780799" cy="4469032"/>
          </a:xfrm>
        </p:spPr>
        <p:txBody>
          <a:bodyPr/>
          <a:lstStyle/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24" name="Inhaltsplatzhalter 19"/>
          <p:cNvSpPr>
            <a:spLocks noGrp="1"/>
          </p:cNvSpPr>
          <p:nvPr>
            <p:ph sz="quarter" idx="16" hasCustomPrompt="1"/>
          </p:nvPr>
        </p:nvSpPr>
        <p:spPr>
          <a:xfrm>
            <a:off x="9104525" y="1702329"/>
            <a:ext cx="2780799" cy="4469032"/>
          </a:xfrm>
        </p:spPr>
        <p:txBody>
          <a:bodyPr/>
          <a:lstStyle/>
          <a:p>
            <a:pPr lvl="0"/>
            <a:r>
              <a:rPr lang="en-ZA" dirty="0"/>
              <a:t>Click to edit text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5725" y="2518"/>
            <a:ext cx="11580552" cy="35485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3" b="1">
                <a:solidFill>
                  <a:schemeClr val="tx1"/>
                </a:solidFill>
              </a:defRPr>
            </a:lvl1pPr>
          </a:lstStyle>
          <a:p>
            <a:r>
              <a:rPr lang="en-ZA" dirty="0"/>
              <a:t>Headline</a:t>
            </a: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04746" y="540582"/>
            <a:ext cx="11581530" cy="70304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538" b="1" baseline="0">
                <a:solidFill>
                  <a:srgbClr val="12276E"/>
                </a:solidFill>
              </a:defRPr>
            </a:lvl1pPr>
          </a:lstStyle>
          <a:p>
            <a:pPr lvl="0"/>
            <a:r>
              <a:rPr lang="en-ZA" dirty="0"/>
              <a:t>Action Title</a:t>
            </a:r>
            <a:br>
              <a:rPr lang="en-ZA" dirty="0"/>
            </a:br>
            <a:r>
              <a:rPr lang="en-ZA" dirty="0"/>
              <a:t>Arial Bold, 24 </a:t>
            </a:r>
            <a:r>
              <a:rPr lang="en-ZA" dirty="0" err="1"/>
              <a:t>pt</a:t>
            </a:r>
            <a:endParaRPr lang="en-ZA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1" t="29160" r="2494" b="29294"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152" y="6361372"/>
            <a:ext cx="694537" cy="37819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954" y="6364285"/>
            <a:ext cx="462744" cy="35996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732" y="6361338"/>
            <a:ext cx="454412" cy="37822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03768" y="6315896"/>
            <a:ext cx="721374" cy="39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45770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rgbClr val="1227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2" y="1680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0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5290459" y="6423027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ZA" sz="1902" dirty="0">
              <a:solidFill>
                <a:srgbClr val="122769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4745" y="1701773"/>
            <a:ext cx="11581531" cy="2345173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5073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ZA" dirty="0"/>
              <a:t>Heading Arial Bold</a:t>
            </a:r>
            <a:br>
              <a:rPr lang="en-ZA" dirty="0"/>
            </a:br>
            <a:r>
              <a:rPr lang="en-ZA" dirty="0"/>
              <a:t>Maximum 3 lines</a:t>
            </a:r>
            <a:br>
              <a:rPr lang="en-ZA" dirty="0"/>
            </a:br>
            <a:r>
              <a:rPr lang="en-ZA" dirty="0"/>
              <a:t>48 </a:t>
            </a:r>
            <a:r>
              <a:rPr lang="en-ZA" dirty="0" err="1"/>
              <a:t>pt</a:t>
            </a:r>
            <a:endParaRPr lang="en-ZA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4745" y="4503798"/>
            <a:ext cx="11581531" cy="378630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537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ZA" dirty="0"/>
              <a:t>Subheading Arial Regular, 24 </a:t>
            </a:r>
            <a:r>
              <a:rPr lang="en-ZA" dirty="0" err="1"/>
              <a:t>pt</a:t>
            </a:r>
            <a:endParaRPr lang="en-ZA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9" t="28994" r="2252" b="29081"/>
          <a:stretch/>
        </p:blipFill>
        <p:spPr>
          <a:xfrm>
            <a:off x="305725" y="6392522"/>
            <a:ext cx="877899" cy="270091"/>
          </a:xfrm>
          <a:prstGeom prst="rect">
            <a:avLst/>
          </a:prstGeom>
        </p:spPr>
      </p:pic>
      <p:grpSp>
        <p:nvGrpSpPr>
          <p:cNvPr id="114" name="Gruppieren 113"/>
          <p:cNvGrpSpPr/>
          <p:nvPr userDrawn="1"/>
        </p:nvGrpSpPr>
        <p:grpSpPr>
          <a:xfrm>
            <a:off x="-368850" y="-326321"/>
            <a:ext cx="12916643" cy="7536892"/>
            <a:chOff x="-348582" y="-308570"/>
            <a:chExt cx="12206900" cy="7126900"/>
          </a:xfrm>
        </p:grpSpPr>
        <p:grpSp>
          <p:nvGrpSpPr>
            <p:cNvPr id="115" name="Gruppieren 114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42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6" name="Gruppieren 115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5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7" name="Gruppieren 116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7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8" name="Gruppieren 117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9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58900" y="6367035"/>
            <a:ext cx="780117" cy="420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1058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53150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ull Size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/>
          <p:cNvSpPr txBox="1"/>
          <p:nvPr userDrawn="1"/>
        </p:nvSpPr>
        <p:spPr>
          <a:xfrm>
            <a:off x="5290459" y="6423027"/>
            <a:ext cx="1709057" cy="276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1"/>
            <a:endParaRPr lang="en-ZA" sz="1902" dirty="0">
              <a:solidFill>
                <a:srgbClr val="122769"/>
              </a:solidFill>
            </a:endParaRP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4745" y="1701773"/>
            <a:ext cx="11581531" cy="2345173"/>
          </a:xfrm>
        </p:spPr>
        <p:txBody>
          <a:bodyPr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5073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ZA" dirty="0"/>
              <a:t>Heading Arial Bold</a:t>
            </a:r>
            <a:br>
              <a:rPr lang="en-ZA" dirty="0"/>
            </a:br>
            <a:r>
              <a:rPr lang="en-ZA" dirty="0"/>
              <a:t>Maximum 3 lines</a:t>
            </a:r>
            <a:br>
              <a:rPr lang="en-ZA" dirty="0"/>
            </a:br>
            <a:r>
              <a:rPr lang="en-ZA" dirty="0"/>
              <a:t>48 </a:t>
            </a:r>
            <a:r>
              <a:rPr lang="en-ZA" dirty="0" err="1"/>
              <a:t>pt</a:t>
            </a:r>
            <a:endParaRPr lang="en-ZA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4745" y="4503798"/>
            <a:ext cx="11581531" cy="378630"/>
          </a:xfrm>
        </p:spPr>
        <p:txBody>
          <a:bodyPr wrap="square">
            <a:spAutoFit/>
          </a:bodyPr>
          <a:lstStyle>
            <a:lvl1pPr>
              <a:spcBef>
                <a:spcPts val="0"/>
              </a:spcBef>
              <a:defRPr sz="2537"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ZA" dirty="0"/>
              <a:t>Subheading Arial Regular, 24 </a:t>
            </a:r>
            <a:r>
              <a:rPr lang="en-ZA" dirty="0" err="1"/>
              <a:t>pt</a:t>
            </a:r>
            <a:endParaRPr lang="en-ZA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9" t="28994" r="2252" b="29081"/>
          <a:stretch/>
        </p:blipFill>
        <p:spPr>
          <a:xfrm>
            <a:off x="305725" y="6392522"/>
            <a:ext cx="877899" cy="270091"/>
          </a:xfrm>
          <a:prstGeom prst="rect">
            <a:avLst/>
          </a:prstGeom>
        </p:spPr>
      </p:pic>
      <p:grpSp>
        <p:nvGrpSpPr>
          <p:cNvPr id="111" name="Gruppieren 110"/>
          <p:cNvGrpSpPr/>
          <p:nvPr userDrawn="1"/>
        </p:nvGrpSpPr>
        <p:grpSpPr>
          <a:xfrm>
            <a:off x="-368850" y="-326321"/>
            <a:ext cx="12916643" cy="7536892"/>
            <a:chOff x="-348582" y="-308570"/>
            <a:chExt cx="12206900" cy="7126900"/>
          </a:xfrm>
        </p:grpSpPr>
        <p:grpSp>
          <p:nvGrpSpPr>
            <p:cNvPr id="112" name="Gruppieren 111"/>
            <p:cNvGrpSpPr/>
            <p:nvPr userDrawn="1"/>
          </p:nvGrpSpPr>
          <p:grpSpPr>
            <a:xfrm>
              <a:off x="-348582" y="362069"/>
              <a:ext cx="180000" cy="5931473"/>
              <a:chOff x="-348582" y="362069"/>
              <a:chExt cx="180000" cy="5931473"/>
            </a:xfrm>
          </p:grpSpPr>
          <p:cxnSp>
            <p:nvCxnSpPr>
              <p:cNvPr id="139" name="Gerade Verbindung 6"/>
              <p:cNvCxnSpPr/>
              <p:nvPr userDrawn="1"/>
            </p:nvCxnSpPr>
            <p:spPr>
              <a:xfrm>
                <a:off x="-348582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7"/>
              <p:cNvCxnSpPr/>
              <p:nvPr userDrawn="1"/>
            </p:nvCxnSpPr>
            <p:spPr>
              <a:xfrm>
                <a:off x="-348582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8"/>
              <p:cNvCxnSpPr/>
              <p:nvPr userDrawn="1"/>
            </p:nvCxnSpPr>
            <p:spPr>
              <a:xfrm>
                <a:off x="-348582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9"/>
              <p:cNvCxnSpPr/>
              <p:nvPr userDrawn="1"/>
            </p:nvCxnSpPr>
            <p:spPr>
              <a:xfrm>
                <a:off x="-348582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Gerade Verbindung 10"/>
              <p:cNvCxnSpPr/>
              <p:nvPr userDrawn="1"/>
            </p:nvCxnSpPr>
            <p:spPr>
              <a:xfrm>
                <a:off x="-348582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Gerade Verbindung 11"/>
              <p:cNvCxnSpPr/>
              <p:nvPr userDrawn="1"/>
            </p:nvCxnSpPr>
            <p:spPr>
              <a:xfrm>
                <a:off x="-348582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Gerade Verbindung 12"/>
              <p:cNvCxnSpPr/>
              <p:nvPr userDrawn="1"/>
            </p:nvCxnSpPr>
            <p:spPr>
              <a:xfrm>
                <a:off x="-348582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uppieren 112"/>
            <p:cNvGrpSpPr/>
            <p:nvPr userDrawn="1"/>
          </p:nvGrpSpPr>
          <p:grpSpPr>
            <a:xfrm>
              <a:off x="11678318" y="362069"/>
              <a:ext cx="180000" cy="5931473"/>
              <a:chOff x="11678318" y="362069"/>
              <a:chExt cx="180000" cy="5931473"/>
            </a:xfrm>
          </p:grpSpPr>
          <p:cxnSp>
            <p:nvCxnSpPr>
              <p:cNvPr id="132" name="Gerade Verbindung 56"/>
              <p:cNvCxnSpPr/>
              <p:nvPr userDrawn="1"/>
            </p:nvCxnSpPr>
            <p:spPr>
              <a:xfrm>
                <a:off x="11678318" y="36206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57"/>
              <p:cNvCxnSpPr/>
              <p:nvPr userDrawn="1"/>
            </p:nvCxnSpPr>
            <p:spPr>
              <a:xfrm>
                <a:off x="11678318" y="511175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58"/>
              <p:cNvCxnSpPr/>
              <p:nvPr userDrawn="1"/>
            </p:nvCxnSpPr>
            <p:spPr>
              <a:xfrm>
                <a:off x="11678318" y="117597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Gerade Verbindung 59"/>
              <p:cNvCxnSpPr/>
              <p:nvPr userDrawn="1"/>
            </p:nvCxnSpPr>
            <p:spPr>
              <a:xfrm>
                <a:off x="11678318" y="1609200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60"/>
              <p:cNvCxnSpPr/>
              <p:nvPr userDrawn="1"/>
            </p:nvCxnSpPr>
            <p:spPr>
              <a:xfrm>
                <a:off x="11678318" y="5835651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61"/>
              <p:cNvCxnSpPr/>
              <p:nvPr userDrawn="1"/>
            </p:nvCxnSpPr>
            <p:spPr>
              <a:xfrm>
                <a:off x="11678318" y="6050859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62"/>
              <p:cNvCxnSpPr/>
              <p:nvPr userDrawn="1"/>
            </p:nvCxnSpPr>
            <p:spPr>
              <a:xfrm>
                <a:off x="11678318" y="6293542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Gruppieren 113"/>
            <p:cNvGrpSpPr/>
            <p:nvPr userDrawn="1"/>
          </p:nvGrpSpPr>
          <p:grpSpPr>
            <a:xfrm>
              <a:off x="288925" y="6638330"/>
              <a:ext cx="10944224" cy="180000"/>
              <a:chOff x="288925" y="6638330"/>
              <a:chExt cx="10944224" cy="180000"/>
            </a:xfrm>
          </p:grpSpPr>
          <p:cxnSp>
            <p:nvCxnSpPr>
              <p:cNvPr id="124" name="Gerade Verbindung 65"/>
              <p:cNvCxnSpPr/>
              <p:nvPr userDrawn="1"/>
            </p:nvCxnSpPr>
            <p:spPr>
              <a:xfrm>
                <a:off x="28892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Gerade Verbindung 74"/>
              <p:cNvCxnSpPr/>
              <p:nvPr userDrawn="1"/>
            </p:nvCxnSpPr>
            <p:spPr>
              <a:xfrm>
                <a:off x="2911475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Gerade Verbindung 75"/>
              <p:cNvCxnSpPr/>
              <p:nvPr userDrawn="1"/>
            </p:nvCxnSpPr>
            <p:spPr>
              <a:xfrm>
                <a:off x="306101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72"/>
              <p:cNvCxnSpPr/>
              <p:nvPr userDrawn="1"/>
            </p:nvCxnSpPr>
            <p:spPr>
              <a:xfrm>
                <a:off x="568966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73"/>
              <p:cNvCxnSpPr/>
              <p:nvPr userDrawn="1"/>
            </p:nvCxnSpPr>
            <p:spPr>
              <a:xfrm>
                <a:off x="5829683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70"/>
              <p:cNvCxnSpPr/>
              <p:nvPr userDrawn="1"/>
            </p:nvCxnSpPr>
            <p:spPr>
              <a:xfrm>
                <a:off x="8459788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71"/>
              <p:cNvCxnSpPr/>
              <p:nvPr userDrawn="1"/>
            </p:nvCxnSpPr>
            <p:spPr>
              <a:xfrm>
                <a:off x="860218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69"/>
              <p:cNvCxnSpPr/>
              <p:nvPr userDrawn="1"/>
            </p:nvCxnSpPr>
            <p:spPr>
              <a:xfrm>
                <a:off x="11233149" y="663833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5" name="Gruppieren 114"/>
            <p:cNvGrpSpPr/>
            <p:nvPr userDrawn="1"/>
          </p:nvGrpSpPr>
          <p:grpSpPr>
            <a:xfrm>
              <a:off x="288925" y="-308570"/>
              <a:ext cx="10944224" cy="180000"/>
              <a:chOff x="288925" y="-308570"/>
              <a:chExt cx="10944224" cy="180000"/>
            </a:xfrm>
          </p:grpSpPr>
          <p:cxnSp>
            <p:nvCxnSpPr>
              <p:cNvPr id="116" name="Gerade Verbindung 14"/>
              <p:cNvCxnSpPr/>
              <p:nvPr userDrawn="1"/>
            </p:nvCxnSpPr>
            <p:spPr>
              <a:xfrm>
                <a:off x="28892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23"/>
              <p:cNvCxnSpPr/>
              <p:nvPr userDrawn="1"/>
            </p:nvCxnSpPr>
            <p:spPr>
              <a:xfrm>
                <a:off x="2911475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Gerade Verbindung 24"/>
              <p:cNvCxnSpPr/>
              <p:nvPr userDrawn="1"/>
            </p:nvCxnSpPr>
            <p:spPr>
              <a:xfrm>
                <a:off x="306101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Gerade Verbindung 21"/>
              <p:cNvCxnSpPr/>
              <p:nvPr userDrawn="1"/>
            </p:nvCxnSpPr>
            <p:spPr>
              <a:xfrm>
                <a:off x="568966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Gerade Verbindung 22"/>
              <p:cNvCxnSpPr/>
              <p:nvPr userDrawn="1"/>
            </p:nvCxnSpPr>
            <p:spPr>
              <a:xfrm>
                <a:off x="5829683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Gerade Verbindung 19"/>
              <p:cNvCxnSpPr/>
              <p:nvPr userDrawn="1"/>
            </p:nvCxnSpPr>
            <p:spPr>
              <a:xfrm>
                <a:off x="8459788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Gerade Verbindung 20"/>
              <p:cNvCxnSpPr/>
              <p:nvPr userDrawn="1"/>
            </p:nvCxnSpPr>
            <p:spPr>
              <a:xfrm>
                <a:off x="860218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Gerade Verbindung 18"/>
              <p:cNvCxnSpPr/>
              <p:nvPr userDrawn="1"/>
            </p:nvCxnSpPr>
            <p:spPr>
              <a:xfrm>
                <a:off x="11233149" y="-308570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43" name="Grafik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9" t="28994" r="2252" b="29081"/>
          <a:stretch/>
        </p:blipFill>
        <p:spPr>
          <a:xfrm>
            <a:off x="388388" y="6385503"/>
            <a:ext cx="877899" cy="270091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158900" y="6367035"/>
            <a:ext cx="780117" cy="420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123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B7299-7AB9-4421-3B12-055B2CA844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C00704-5510-78E0-B7E4-F9630322C1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253451-8FBE-805D-8FA3-FC147C284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3EC1D9-62E5-C85C-4B63-58148D490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5F95C2-AFFF-07C8-D374-FE4011B8B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24173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1DE07-2180-6511-79E3-2E29CCE5E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839261-F4E2-F83A-096F-8B46402991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F1F349-BC46-79C9-52EF-514BAFBBC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52DCA1-2DB5-E28A-52A3-EA7B7869C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0AE262-9D44-C979-4A16-6F63869A1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01765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03DAF-A9FC-2EBF-313C-F3BBB8954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7F7F28-7C72-307A-C407-52556A768F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96E65A-F4AD-DD3A-A52F-FA815D368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ECDF96-CFF7-5621-1619-45423983D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BBBE39-910E-748A-9083-0559B3322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11276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D33C5D-B37F-1D54-B8A5-832AA5ACFC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48E475-38C3-004E-F4B4-1BC4904169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CE613-E5A9-D074-F1D1-F7F2DB2269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9F732C-3593-DFBF-A549-2CEA21759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9F957B-DA11-6500-63E4-E27185DF6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0154A3-20E1-D18E-0026-4A8A3F81A5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4368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D969EE-7FCA-358E-AF68-5727C057A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4B158C-293D-FC3E-8470-A5C3F0E81D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2696D5-6D88-2554-E382-F7B098EA9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726132-29F8-0728-CEC6-7660F95062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ED94F64-22C3-42CB-F1BB-62265B02E6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11A8BE-6B08-0119-E239-80C863D83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73BA3D-95A5-5C73-ECBF-3F3219607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642D4F-4B32-ED83-D21D-63C452CDF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919111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E6EB0C-BA77-9E02-D9FC-62623840D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FFB223-1C45-0913-7F67-BFE48E5B4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01BEB2-D578-1D7A-3513-9DFB783D4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60DC6B-1B01-30F0-C949-A2490AA5A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7897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A9FE2E-46FA-BB90-50F1-2CB53E1C5B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CE213D-763D-F752-F23B-3AD310C958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C89DC0-3B4C-C610-8DA1-4EC909A3A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30147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8ED57-C60E-60FD-BC9C-20548E064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460EA-29F8-CCC7-A9DB-EADF9BB96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48E39E-23CE-CC6D-4A90-EF01B45441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CD4CA2-4444-83A1-FC45-0C8520271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D3279D-360F-A5B1-C36C-6155F84C4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18B8DA-9C7F-6A51-7F25-E25D69279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55938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47472-7E89-8BAA-DFFD-7665F68FB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39D404-A40E-A29B-C769-B076AFC068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E2BE45-1AFB-1777-7F35-08016656CF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F0D7A5-C01A-471C-637A-44095AFE6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6A7DE5-96C0-24F9-BDDC-C53FEDDD9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B8E9E-260B-0007-E803-BAF3D1098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6932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7795390" y="0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9489945-D82B-16EA-87F9-4DB1AC09BCAB}"/>
              </a:ext>
            </a:extLst>
          </p:cNvPr>
          <p:cNvGrpSpPr/>
          <p:nvPr userDrawn="1"/>
        </p:nvGrpSpPr>
        <p:grpSpPr>
          <a:xfrm>
            <a:off x="9598" y="4557616"/>
            <a:ext cx="3097294" cy="2298207"/>
            <a:chOff x="9598" y="4557616"/>
            <a:chExt cx="3097294" cy="2298207"/>
          </a:xfrm>
        </p:grpSpPr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863EF05D-4F3C-2EAC-0BD4-17EC180015FD}"/>
                </a:ext>
              </a:extLst>
            </p:cNvPr>
            <p:cNvSpPr/>
            <p:nvPr/>
          </p:nvSpPr>
          <p:spPr>
            <a:xfrm>
              <a:off x="1316370" y="6327748"/>
              <a:ext cx="614398" cy="528026"/>
            </a:xfrm>
            <a:custGeom>
              <a:avLst/>
              <a:gdLst/>
              <a:ahLst/>
              <a:cxnLst/>
              <a:rect l="l" t="t" r="r" b="b"/>
              <a:pathLst>
                <a:path w="677544" h="582295">
                  <a:moveTo>
                    <a:pt x="166528" y="0"/>
                  </a:moveTo>
                  <a:lnTo>
                    <a:pt x="120868" y="10089"/>
                  </a:lnTo>
                  <a:lnTo>
                    <a:pt x="78669" y="31774"/>
                  </a:lnTo>
                  <a:lnTo>
                    <a:pt x="42356" y="64816"/>
                  </a:lnTo>
                  <a:lnTo>
                    <a:pt x="16032" y="106257"/>
                  </a:lnTo>
                  <a:lnTo>
                    <a:pt x="1987" y="151637"/>
                  </a:lnTo>
                  <a:lnTo>
                    <a:pt x="0" y="198494"/>
                  </a:lnTo>
                  <a:lnTo>
                    <a:pt x="9847" y="244368"/>
                  </a:lnTo>
                  <a:lnTo>
                    <a:pt x="31309" y="286798"/>
                  </a:lnTo>
                  <a:lnTo>
                    <a:pt x="64161" y="323324"/>
                  </a:lnTo>
                  <a:lnTo>
                    <a:pt x="72492" y="330740"/>
                  </a:lnTo>
                  <a:lnTo>
                    <a:pt x="89603" y="347032"/>
                  </a:lnTo>
                  <a:lnTo>
                    <a:pt x="143984" y="405507"/>
                  </a:lnTo>
                  <a:lnTo>
                    <a:pt x="178162" y="447320"/>
                  </a:lnTo>
                  <a:lnTo>
                    <a:pt x="214937" y="497272"/>
                  </a:lnTo>
                  <a:lnTo>
                    <a:pt x="252764" y="555177"/>
                  </a:lnTo>
                  <a:lnTo>
                    <a:pt x="267956" y="581905"/>
                  </a:lnTo>
                  <a:lnTo>
                    <a:pt x="676956" y="581905"/>
                  </a:lnTo>
                  <a:lnTo>
                    <a:pt x="654079" y="529010"/>
                  </a:lnTo>
                  <a:lnTo>
                    <a:pt x="630400" y="479497"/>
                  </a:lnTo>
                  <a:lnTo>
                    <a:pt x="605823" y="432480"/>
                  </a:lnTo>
                  <a:lnTo>
                    <a:pt x="580604" y="387985"/>
                  </a:lnTo>
                  <a:lnTo>
                    <a:pt x="555000" y="346039"/>
                  </a:lnTo>
                  <a:lnTo>
                    <a:pt x="529267" y="306670"/>
                  </a:lnTo>
                  <a:lnTo>
                    <a:pt x="503664" y="269906"/>
                  </a:lnTo>
                  <a:lnTo>
                    <a:pt x="478447" y="235772"/>
                  </a:lnTo>
                  <a:lnTo>
                    <a:pt x="453872" y="204296"/>
                  </a:lnTo>
                  <a:lnTo>
                    <a:pt x="407680" y="149427"/>
                  </a:lnTo>
                  <a:lnTo>
                    <a:pt x="367144" y="105516"/>
                  </a:lnTo>
                  <a:lnTo>
                    <a:pt x="334319" y="72781"/>
                  </a:lnTo>
                  <a:lnTo>
                    <a:pt x="300026" y="41702"/>
                  </a:lnTo>
                  <a:lnTo>
                    <a:pt x="258532" y="15566"/>
                  </a:lnTo>
                  <a:lnTo>
                    <a:pt x="213224" y="1745"/>
                  </a:lnTo>
                  <a:lnTo>
                    <a:pt x="16652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CB05B7DE-D1A8-92D2-6742-E486186D58AC}"/>
                </a:ext>
              </a:extLst>
            </p:cNvPr>
            <p:cNvSpPr/>
            <p:nvPr/>
          </p:nvSpPr>
          <p:spPr>
            <a:xfrm>
              <a:off x="809301" y="61720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B42D0B40-8726-CFF6-45C8-D6DD9073ADC5}"/>
                </a:ext>
              </a:extLst>
            </p:cNvPr>
            <p:cNvSpPr/>
            <p:nvPr/>
          </p:nvSpPr>
          <p:spPr>
            <a:xfrm>
              <a:off x="1879928" y="6007961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94932D03-1DB6-8192-A37F-9BC1EC4AD97E}"/>
                </a:ext>
              </a:extLst>
            </p:cNvPr>
            <p:cNvSpPr/>
            <p:nvPr/>
          </p:nvSpPr>
          <p:spPr>
            <a:xfrm>
              <a:off x="1755210" y="540721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870B1266-3B19-111C-D391-A0174B1E3628}"/>
                </a:ext>
              </a:extLst>
            </p:cNvPr>
            <p:cNvSpPr/>
            <p:nvPr/>
          </p:nvSpPr>
          <p:spPr>
            <a:xfrm>
              <a:off x="1088618" y="55500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A1B8B559-FDDD-3768-BE13-48E60B67B738}"/>
                </a:ext>
              </a:extLst>
            </p:cNvPr>
            <p:cNvSpPr/>
            <p:nvPr/>
          </p:nvSpPr>
          <p:spPr>
            <a:xfrm>
              <a:off x="2464854" y="6493633"/>
              <a:ext cx="642038" cy="362190"/>
            </a:xfrm>
            <a:custGeom>
              <a:avLst/>
              <a:gdLst/>
              <a:ahLst/>
              <a:cxnLst/>
              <a:rect l="l" t="t" r="r" b="b"/>
              <a:pathLst>
                <a:path w="708025" h="39941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2602" y="398971"/>
                  </a:lnTo>
                  <a:lnTo>
                    <a:pt x="705193" y="398971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0">
              <a:extLst>
                <a:ext uri="{FF2B5EF4-FFF2-40B4-BE49-F238E27FC236}">
                  <a16:creationId xmlns:a16="http://schemas.microsoft.com/office/drawing/2014/main" id="{9412B5DB-583A-8967-5D35-7E8CFCA6F004}"/>
                </a:ext>
              </a:extLst>
            </p:cNvPr>
            <p:cNvSpPr/>
            <p:nvPr/>
          </p:nvSpPr>
          <p:spPr>
            <a:xfrm>
              <a:off x="871644" y="47069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1">
              <a:extLst>
                <a:ext uri="{FF2B5EF4-FFF2-40B4-BE49-F238E27FC236}">
                  <a16:creationId xmlns:a16="http://schemas.microsoft.com/office/drawing/2014/main" id="{357063B8-8F24-016B-ED8E-8A23E93B516A}"/>
                </a:ext>
              </a:extLst>
            </p:cNvPr>
            <p:cNvSpPr/>
            <p:nvPr/>
          </p:nvSpPr>
          <p:spPr>
            <a:xfrm>
              <a:off x="9598" y="4557616"/>
              <a:ext cx="660464" cy="2298092"/>
            </a:xfrm>
            <a:custGeom>
              <a:avLst/>
              <a:gdLst/>
              <a:ahLst/>
              <a:cxnLst/>
              <a:rect l="l" t="t" r="r" b="b"/>
              <a:pathLst>
                <a:path w="728345" h="2534284">
                  <a:moveTo>
                    <a:pt x="339378" y="1250138"/>
                  </a:moveTo>
                  <a:lnTo>
                    <a:pt x="0" y="1250138"/>
                  </a:lnTo>
                  <a:lnTo>
                    <a:pt x="0" y="1503516"/>
                  </a:lnTo>
                  <a:lnTo>
                    <a:pt x="293099" y="1503516"/>
                  </a:lnTo>
                  <a:lnTo>
                    <a:pt x="275124" y="1549292"/>
                  </a:lnTo>
                  <a:lnTo>
                    <a:pt x="255196" y="1595118"/>
                  </a:lnTo>
                  <a:lnTo>
                    <a:pt x="233381" y="1640986"/>
                  </a:lnTo>
                  <a:lnTo>
                    <a:pt x="209742" y="1686883"/>
                  </a:lnTo>
                  <a:lnTo>
                    <a:pt x="184347" y="1732802"/>
                  </a:lnTo>
                  <a:lnTo>
                    <a:pt x="157259" y="1778731"/>
                  </a:lnTo>
                  <a:lnTo>
                    <a:pt x="128545" y="1824661"/>
                  </a:lnTo>
                  <a:lnTo>
                    <a:pt x="0" y="1824661"/>
                  </a:lnTo>
                  <a:lnTo>
                    <a:pt x="0" y="2533969"/>
                  </a:lnTo>
                  <a:lnTo>
                    <a:pt x="37168" y="2533969"/>
                  </a:lnTo>
                  <a:lnTo>
                    <a:pt x="53615" y="2516081"/>
                  </a:lnTo>
                  <a:lnTo>
                    <a:pt x="88081" y="2477894"/>
                  </a:lnTo>
                  <a:lnTo>
                    <a:pt x="121975" y="2439592"/>
                  </a:lnTo>
                  <a:lnTo>
                    <a:pt x="155266" y="2401172"/>
                  </a:lnTo>
                  <a:lnTo>
                    <a:pt x="187926" y="2362631"/>
                  </a:lnTo>
                  <a:lnTo>
                    <a:pt x="219923" y="2323966"/>
                  </a:lnTo>
                  <a:lnTo>
                    <a:pt x="251229" y="2285174"/>
                  </a:lnTo>
                  <a:lnTo>
                    <a:pt x="281814" y="2246251"/>
                  </a:lnTo>
                  <a:lnTo>
                    <a:pt x="311647" y="2207195"/>
                  </a:lnTo>
                  <a:lnTo>
                    <a:pt x="340699" y="2168003"/>
                  </a:lnTo>
                  <a:lnTo>
                    <a:pt x="368940" y="2128671"/>
                  </a:lnTo>
                  <a:lnTo>
                    <a:pt x="396340" y="2089196"/>
                  </a:lnTo>
                  <a:lnTo>
                    <a:pt x="422870" y="2049575"/>
                  </a:lnTo>
                  <a:lnTo>
                    <a:pt x="448500" y="2009806"/>
                  </a:lnTo>
                  <a:lnTo>
                    <a:pt x="473199" y="1969884"/>
                  </a:lnTo>
                  <a:lnTo>
                    <a:pt x="496938" y="1929807"/>
                  </a:lnTo>
                  <a:lnTo>
                    <a:pt x="519688" y="1889572"/>
                  </a:lnTo>
                  <a:lnTo>
                    <a:pt x="541417" y="1849176"/>
                  </a:lnTo>
                  <a:lnTo>
                    <a:pt x="562098" y="1808615"/>
                  </a:lnTo>
                  <a:lnTo>
                    <a:pt x="581699" y="1767887"/>
                  </a:lnTo>
                  <a:lnTo>
                    <a:pt x="600190" y="1726988"/>
                  </a:lnTo>
                  <a:lnTo>
                    <a:pt x="617543" y="1685916"/>
                  </a:lnTo>
                  <a:lnTo>
                    <a:pt x="633727" y="1644667"/>
                  </a:lnTo>
                  <a:lnTo>
                    <a:pt x="648713" y="1603237"/>
                  </a:lnTo>
                  <a:lnTo>
                    <a:pt x="662470" y="1561625"/>
                  </a:lnTo>
                  <a:lnTo>
                    <a:pt x="674969" y="1519827"/>
                  </a:lnTo>
                  <a:lnTo>
                    <a:pt x="686180" y="1477840"/>
                  </a:lnTo>
                  <a:lnTo>
                    <a:pt x="696072" y="1435660"/>
                  </a:lnTo>
                  <a:lnTo>
                    <a:pt x="704618" y="1393285"/>
                  </a:lnTo>
                  <a:lnTo>
                    <a:pt x="711785" y="1350711"/>
                  </a:lnTo>
                  <a:lnTo>
                    <a:pt x="717546" y="1307936"/>
                  </a:lnTo>
                  <a:lnTo>
                    <a:pt x="722689" y="1252323"/>
                  </a:lnTo>
                  <a:lnTo>
                    <a:pt x="353602" y="1252323"/>
                  </a:lnTo>
                  <a:lnTo>
                    <a:pt x="346541" y="1251103"/>
                  </a:lnTo>
                  <a:lnTo>
                    <a:pt x="339378" y="1250138"/>
                  </a:lnTo>
                  <a:close/>
                </a:path>
                <a:path w="728345" h="2534284">
                  <a:moveTo>
                    <a:pt x="109487" y="0"/>
                  </a:moveTo>
                  <a:lnTo>
                    <a:pt x="63837" y="10091"/>
                  </a:lnTo>
                  <a:lnTo>
                    <a:pt x="21648" y="31783"/>
                  </a:lnTo>
                  <a:lnTo>
                    <a:pt x="37" y="51456"/>
                  </a:lnTo>
                  <a:lnTo>
                    <a:pt x="0" y="315397"/>
                  </a:lnTo>
                  <a:lnTo>
                    <a:pt x="7146" y="323343"/>
                  </a:lnTo>
                  <a:lnTo>
                    <a:pt x="15476" y="330759"/>
                  </a:lnTo>
                  <a:lnTo>
                    <a:pt x="32587" y="347051"/>
                  </a:lnTo>
                  <a:lnTo>
                    <a:pt x="86967" y="405526"/>
                  </a:lnTo>
                  <a:lnTo>
                    <a:pt x="121144" y="447339"/>
                  </a:lnTo>
                  <a:lnTo>
                    <a:pt x="157917" y="497291"/>
                  </a:lnTo>
                  <a:lnTo>
                    <a:pt x="195742" y="555196"/>
                  </a:lnTo>
                  <a:lnTo>
                    <a:pt x="233071" y="620872"/>
                  </a:lnTo>
                  <a:lnTo>
                    <a:pt x="268359" y="694132"/>
                  </a:lnTo>
                  <a:lnTo>
                    <a:pt x="0" y="694132"/>
                  </a:lnTo>
                  <a:lnTo>
                    <a:pt x="0" y="947497"/>
                  </a:lnTo>
                  <a:lnTo>
                    <a:pt x="344547" y="947497"/>
                  </a:lnTo>
                  <a:lnTo>
                    <a:pt x="351547" y="994539"/>
                  </a:lnTo>
                  <a:lnTo>
                    <a:pt x="356566" y="1043098"/>
                  </a:lnTo>
                  <a:lnTo>
                    <a:pt x="359442" y="1093166"/>
                  </a:lnTo>
                  <a:lnTo>
                    <a:pt x="360014" y="1144733"/>
                  </a:lnTo>
                  <a:lnTo>
                    <a:pt x="358121" y="1197788"/>
                  </a:lnTo>
                  <a:lnTo>
                    <a:pt x="353602" y="1252323"/>
                  </a:lnTo>
                  <a:lnTo>
                    <a:pt x="722689" y="1252323"/>
                  </a:lnTo>
                  <a:lnTo>
                    <a:pt x="724699" y="1230596"/>
                  </a:lnTo>
                  <a:lnTo>
                    <a:pt x="727870" y="1155425"/>
                  </a:lnTo>
                  <a:lnTo>
                    <a:pt x="727315" y="1082452"/>
                  </a:lnTo>
                  <a:lnTo>
                    <a:pt x="723292" y="1011702"/>
                  </a:lnTo>
                  <a:lnTo>
                    <a:pt x="716057" y="943204"/>
                  </a:lnTo>
                  <a:lnTo>
                    <a:pt x="705867" y="876984"/>
                  </a:lnTo>
                  <a:lnTo>
                    <a:pt x="692980" y="813069"/>
                  </a:lnTo>
                  <a:lnTo>
                    <a:pt x="677652" y="751487"/>
                  </a:lnTo>
                  <a:lnTo>
                    <a:pt x="660140" y="692264"/>
                  </a:lnTo>
                  <a:lnTo>
                    <a:pt x="640702" y="635429"/>
                  </a:lnTo>
                  <a:lnTo>
                    <a:pt x="619593" y="581007"/>
                  </a:lnTo>
                  <a:lnTo>
                    <a:pt x="597072" y="529026"/>
                  </a:lnTo>
                  <a:lnTo>
                    <a:pt x="573395" y="479514"/>
                  </a:lnTo>
                  <a:lnTo>
                    <a:pt x="548819" y="432497"/>
                  </a:lnTo>
                  <a:lnTo>
                    <a:pt x="523601" y="388002"/>
                  </a:lnTo>
                  <a:lnTo>
                    <a:pt x="497998" y="346057"/>
                  </a:lnTo>
                  <a:lnTo>
                    <a:pt x="472267" y="306688"/>
                  </a:lnTo>
                  <a:lnTo>
                    <a:pt x="446665" y="269924"/>
                  </a:lnTo>
                  <a:lnTo>
                    <a:pt x="421449" y="235790"/>
                  </a:lnTo>
                  <a:lnTo>
                    <a:pt x="396875" y="204314"/>
                  </a:lnTo>
                  <a:lnTo>
                    <a:pt x="350685" y="149446"/>
                  </a:lnTo>
                  <a:lnTo>
                    <a:pt x="310151" y="105535"/>
                  </a:lnTo>
                  <a:lnTo>
                    <a:pt x="277327" y="72800"/>
                  </a:lnTo>
                  <a:lnTo>
                    <a:pt x="247047" y="45123"/>
                  </a:lnTo>
                  <a:lnTo>
                    <a:pt x="201504" y="15575"/>
                  </a:lnTo>
                  <a:lnTo>
                    <a:pt x="156182" y="1748"/>
                  </a:lnTo>
                  <a:lnTo>
                    <a:pt x="10948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5996" y="1882770"/>
            <a:ext cx="8915844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81518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5C62E7-C227-4FE6-EF6B-402C1AF0F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80A195-3677-2ED3-3546-5F86795988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24E36A-F824-805B-19DA-F6DAD9D7FF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4CC016-C643-8999-8F41-015CA6756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01969B-FE51-ACE6-A9E3-DA3731C3D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65598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4EB87F9-C985-966A-400F-52D66829C1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76B76F3-FEC8-871A-191B-CA2078D049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FC959E-0149-1FF5-4FA4-788854DC9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20DC37-1F2A-17DB-1CFB-ADCB7B9EDE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B443-699D-1C6D-5F56-CD1436AA8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3820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9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61.xml"/><Relationship Id="rId42" Type="http://schemas.openxmlformats.org/officeDocument/2006/relationships/slideLayout" Target="../slideLayouts/slideLayout69.xml"/><Relationship Id="rId47" Type="http://schemas.openxmlformats.org/officeDocument/2006/relationships/slideLayout" Target="../slideLayouts/slideLayout74.xml"/><Relationship Id="rId50" Type="http://schemas.openxmlformats.org/officeDocument/2006/relationships/slideLayout" Target="../slideLayouts/slideLayout77.xml"/><Relationship Id="rId55" Type="http://schemas.openxmlformats.org/officeDocument/2006/relationships/image" Target="../media/image1.png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37" Type="http://schemas.openxmlformats.org/officeDocument/2006/relationships/slideLayout" Target="../slideLayouts/slideLayout64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53" Type="http://schemas.openxmlformats.org/officeDocument/2006/relationships/slideLayout" Target="../slideLayouts/slideLayout80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slideLayout" Target="../slideLayouts/slideLayout58.xml"/><Relationship Id="rId44" Type="http://schemas.openxmlformats.org/officeDocument/2006/relationships/slideLayout" Target="../slideLayouts/slideLayout71.xml"/><Relationship Id="rId52" Type="http://schemas.openxmlformats.org/officeDocument/2006/relationships/slideLayout" Target="../slideLayouts/slideLayout79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43" Type="http://schemas.openxmlformats.org/officeDocument/2006/relationships/slideLayout" Target="../slideLayouts/slideLayout70.xml"/><Relationship Id="rId48" Type="http://schemas.openxmlformats.org/officeDocument/2006/relationships/slideLayout" Target="../slideLayouts/slideLayout75.xml"/><Relationship Id="rId8" Type="http://schemas.openxmlformats.org/officeDocument/2006/relationships/slideLayout" Target="../slideLayouts/slideLayout35.xml"/><Relationship Id="rId51" Type="http://schemas.openxmlformats.org/officeDocument/2006/relationships/slideLayout" Target="../slideLayouts/slideLayout78.xml"/><Relationship Id="rId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38" Type="http://schemas.openxmlformats.org/officeDocument/2006/relationships/slideLayout" Target="../slideLayouts/slideLayout65.xml"/><Relationship Id="rId4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36" Type="http://schemas.openxmlformats.org/officeDocument/2006/relationships/slideLayout" Target="../slideLayouts/slideLayout63.xml"/><Relationship Id="rId49" Type="http://schemas.openxmlformats.org/officeDocument/2006/relationships/slideLayout" Target="../slideLayouts/slideLayout7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338D11-380A-F98C-AE48-4EA3D89A1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107031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74A5C5-5D96-5E1C-995F-E06CAC92F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1B5FAC9-3535-A373-ACE1-F95DA7F453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endParaRPr lang="en-GB" dirty="0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E933B7D9-4B12-B8C9-F890-0F38A297D05F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840" y="5816863"/>
            <a:ext cx="667048" cy="723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96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Quicksand" pitchFamily="2" charset="0"/>
          <a:ea typeface="+mj-ea"/>
          <a:cs typeface="Quire Sans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200" b="0" kern="1200">
          <a:solidFill>
            <a:schemeClr val="tx1"/>
          </a:solidFill>
          <a:latin typeface="Quicksand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9">
          <p15:clr>
            <a:srgbClr val="F26B43"/>
          </p15:clr>
        </p15:guide>
        <p15:guide id="4" orient="horz" pos="754">
          <p15:clr>
            <a:srgbClr val="F26B43"/>
          </p15:clr>
        </p15:guide>
        <p15:guide id="5" orient="horz" pos="1321">
          <p15:clr>
            <a:srgbClr val="F26B43"/>
          </p15:clr>
        </p15:guide>
        <p15:guide id="6" orient="horz" pos="39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338D11-380A-F98C-AE48-4EA3D89A1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107031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74A5C5-5D96-5E1C-995F-E06CAC92F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1B5FAC9-3535-A373-ACE1-F95DA7F453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endParaRPr lang="en-US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A5CAD3DA-AE2F-C2CD-4166-0A005BEDDEB6}"/>
              </a:ext>
            </a:extLst>
          </p:cNvPr>
          <p:cNvPicPr>
            <a:picLocks noChangeAspect="1"/>
          </p:cNvPicPr>
          <p:nvPr userDrawn="1"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7140" y="6070863"/>
            <a:ext cx="667048" cy="723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856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781" r:id="rId24"/>
    <p:sldLayoutId id="2147483782" r:id="rId25"/>
    <p:sldLayoutId id="2147483783" r:id="rId26"/>
    <p:sldLayoutId id="2147483784" r:id="rId27"/>
    <p:sldLayoutId id="2147483785" r:id="rId28"/>
    <p:sldLayoutId id="2147483677" r:id="rId29"/>
    <p:sldLayoutId id="2147483678" r:id="rId30"/>
    <p:sldLayoutId id="2147483679" r:id="rId31"/>
    <p:sldLayoutId id="2147483685" r:id="rId32"/>
    <p:sldLayoutId id="2147483686" r:id="rId33"/>
    <p:sldLayoutId id="2147483687" r:id="rId34"/>
    <p:sldLayoutId id="2147483688" r:id="rId35"/>
    <p:sldLayoutId id="2147483689" r:id="rId36"/>
    <p:sldLayoutId id="2147483690" r:id="rId37"/>
    <p:sldLayoutId id="2147483691" r:id="rId38"/>
    <p:sldLayoutId id="2147483692" r:id="rId39"/>
    <p:sldLayoutId id="2147483693" r:id="rId40"/>
    <p:sldLayoutId id="2147483694" r:id="rId41"/>
    <p:sldLayoutId id="2147483695" r:id="rId42"/>
    <p:sldLayoutId id="2147483696" r:id="rId43"/>
    <p:sldLayoutId id="2147483697" r:id="rId44"/>
    <p:sldLayoutId id="2147483661" r:id="rId45"/>
    <p:sldLayoutId id="2147483662" r:id="rId46"/>
    <p:sldLayoutId id="2147483663" r:id="rId47"/>
    <p:sldLayoutId id="2147483664" r:id="rId48"/>
    <p:sldLayoutId id="2147483665" r:id="rId49"/>
    <p:sldLayoutId id="2147483666" r:id="rId50"/>
    <p:sldLayoutId id="2147483667" r:id="rId51"/>
    <p:sldLayoutId id="2147483669" r:id="rId52"/>
    <p:sldLayoutId id="2147483670" r:id="rId5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Quicksand" pitchFamily="2" charset="0"/>
          <a:ea typeface="+mj-ea"/>
          <a:cs typeface="Quire Sans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200" b="0" kern="1200">
          <a:solidFill>
            <a:schemeClr val="tx1"/>
          </a:solidFill>
          <a:latin typeface="Quicksand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9">
          <p15:clr>
            <a:srgbClr val="F26B43"/>
          </p15:clr>
        </p15:guide>
        <p15:guide id="4" orient="horz" pos="754">
          <p15:clr>
            <a:srgbClr val="F26B43"/>
          </p15:clr>
        </p15:guide>
        <p15:guide id="5" orient="horz" pos="1321">
          <p15:clr>
            <a:srgbClr val="F26B43"/>
          </p15:clr>
        </p15:guide>
        <p15:guide id="6" orient="horz" pos="399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7179F7-218C-AA8C-F064-DB56022E3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C31F23-7336-D4E6-3272-725DF6DD9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AB2028-7899-7AC8-B9F8-266CDA9A86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3C2E81-7968-2DFA-094A-57B911CD54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80E72D-A4F6-F182-7896-7ED66A1799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640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4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3.emf"/><Relationship Id="rId3" Type="http://schemas.openxmlformats.org/officeDocument/2006/relationships/image" Target="../media/image48.png"/><Relationship Id="rId21" Type="http://schemas.openxmlformats.org/officeDocument/2006/relationships/image" Target="../media/image66.jp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" Type="http://schemas.openxmlformats.org/officeDocument/2006/relationships/image" Target="../media/image47.png"/><Relationship Id="rId16" Type="http://schemas.openxmlformats.org/officeDocument/2006/relationships/image" Target="../media/image61.jpg"/><Relationship Id="rId20" Type="http://schemas.openxmlformats.org/officeDocument/2006/relationships/image" Target="../media/image65.jpg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51.sv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svg"/><Relationship Id="rId10" Type="http://schemas.openxmlformats.org/officeDocument/2006/relationships/image" Target="../media/image55.emf"/><Relationship Id="rId19" Type="http://schemas.openxmlformats.org/officeDocument/2006/relationships/image" Target="../media/image64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5" Type="http://schemas.microsoft.com/office/2007/relationships/hdphoto" Target="../media/hdphoto1.wdp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image" Target="../media/image36.jpeg"/><Relationship Id="rId4" Type="http://schemas.openxmlformats.org/officeDocument/2006/relationships/image" Target="../media/image30.png"/><Relationship Id="rId9" Type="http://schemas.openxmlformats.org/officeDocument/2006/relationships/image" Target="../media/image3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B5E4D85-7602-45A4-6D6C-F4B12E4A1E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4262" y="1742826"/>
            <a:ext cx="5763477" cy="337234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6359DD2-52BC-2F4A-6D9D-AD636C642BD6}"/>
              </a:ext>
            </a:extLst>
          </p:cNvPr>
          <p:cNvSpPr/>
          <p:nvPr/>
        </p:nvSpPr>
        <p:spPr>
          <a:xfrm>
            <a:off x="10544175" y="5695950"/>
            <a:ext cx="895350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673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“Operation Clean Sweep” Example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504118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Strategies Employed by Informal Workers</a:t>
            </a:r>
            <a:endParaRPr lang="en-GB" sz="4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1A7D5A-A94F-7F1A-391A-C164BC9D7F4E}"/>
              </a:ext>
            </a:extLst>
          </p:cNvPr>
          <p:cNvSpPr>
            <a:spLocks/>
          </p:cNvSpPr>
          <p:nvPr/>
        </p:nvSpPr>
        <p:spPr>
          <a:xfrm>
            <a:off x="859197" y="1217582"/>
            <a:ext cx="5236803" cy="4036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Quicksand"/>
                <a:cs typeface="Calibri" panose="020F0502020204030204" pitchFamily="34" charset="0"/>
              </a:rPr>
              <a:t>Tactics Used by Informal Workers in Response to Challenges</a:t>
            </a:r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Quicksand"/>
              <a:cs typeface="Calibri" panose="020F050202020403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AEC293-C2A1-938F-30F8-A540AFB1098D}"/>
              </a:ext>
            </a:extLst>
          </p:cNvPr>
          <p:cNvSpPr/>
          <p:nvPr/>
        </p:nvSpPr>
        <p:spPr>
          <a:xfrm>
            <a:off x="859197" y="1629796"/>
            <a:ext cx="5236803" cy="447454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74625" lvl="0" indent="-17462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Informal traders use </a:t>
            </a:r>
            <a:r>
              <a:rPr lang="en-US" sz="1400" b="1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various strategies </a:t>
            </a: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to deal with the challenges which they face on a daily basis. These include:</a:t>
            </a:r>
          </a:p>
          <a:p>
            <a:pPr marL="631825" lvl="1" indent="-17462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Formation of </a:t>
            </a:r>
            <a:r>
              <a:rPr lang="en-US" sz="1400" b="1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informal traders’ organisations </a:t>
            </a: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such as South African Informal Traders Forum, Johannesburg Informal Traders Platform and South African National Retail Traders Association (SANTRA) </a:t>
            </a:r>
            <a:r>
              <a:rPr lang="en-US" sz="1400" b="1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 </a:t>
            </a:r>
          </a:p>
          <a:p>
            <a:pPr marL="174625" lvl="0" indent="-17462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Litigation</a:t>
            </a: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 – examples include:</a:t>
            </a:r>
          </a:p>
          <a:p>
            <a:pPr marL="631825" lvl="1" indent="-17462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South African Informal Traders Forum and others v City of Johannesburg and others </a:t>
            </a:r>
          </a:p>
          <a:p>
            <a:pPr marL="631825" lvl="1" indent="-17462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Somali Association of South Africa v Limpopo Department of Economic Development, Environment and Tourism </a:t>
            </a:r>
          </a:p>
          <a:p>
            <a:pPr marL="631825" lvl="1" indent="-17462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err="1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Makwickana</a:t>
            </a: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 v </a:t>
            </a:r>
            <a:r>
              <a:rPr lang="en-US" sz="1400" dirty="0" err="1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Ethekwini</a:t>
            </a: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 Municipality</a:t>
            </a:r>
          </a:p>
          <a:p>
            <a:pPr marL="174625" lvl="0" indent="-17462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Research and advocacy:</a:t>
            </a:r>
          </a:p>
          <a:p>
            <a:pPr marL="631825" lvl="1" indent="-17462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Engagement with Government</a:t>
            </a:r>
          </a:p>
          <a:p>
            <a:pPr marL="631825" lvl="1" indent="-17462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Development of material for rights education and </a:t>
            </a:r>
            <a:b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conducting workshops</a:t>
            </a:r>
          </a:p>
          <a:p>
            <a:pPr marL="171450" indent="-171450">
              <a:spcBef>
                <a:spcPts val="526"/>
              </a:spcBef>
              <a:buFont typeface="Arial" panose="020B0604020202020204" pitchFamily="34" charset="0"/>
              <a:buChar char="•"/>
              <a:defRPr/>
            </a:pPr>
            <a:endParaRPr lang="en-ZA" sz="1400" b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pic>
        <p:nvPicPr>
          <p:cNvPr id="8" name="Picture 2" descr="page35image1056837328">
            <a:extLst>
              <a:ext uri="{FF2B5EF4-FFF2-40B4-BE49-F238E27FC236}">
                <a16:creationId xmlns:a16="http://schemas.microsoft.com/office/drawing/2014/main" id="{96A777C5-BA93-B387-819B-D62BD6F6B7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6" r="12373"/>
          <a:stretch/>
        </p:blipFill>
        <p:spPr bwMode="auto">
          <a:xfrm>
            <a:off x="6411310" y="1217582"/>
            <a:ext cx="4970923" cy="48867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44596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Recommendations for Informal Trade Regulation</a:t>
            </a:r>
            <a:endParaRPr lang="en-GB" sz="40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B3EDD944-4AB1-7648-1081-3DEA09DE7D04}"/>
              </a:ext>
            </a:extLst>
          </p:cNvPr>
          <p:cNvSpPr/>
          <p:nvPr/>
        </p:nvSpPr>
        <p:spPr>
          <a:xfrm>
            <a:off x="1037230" y="1287136"/>
            <a:ext cx="10849045" cy="618186"/>
          </a:xfrm>
          <a:prstGeom prst="roundRect">
            <a:avLst/>
          </a:prstGeom>
          <a:solidFill>
            <a:schemeClr val="accent1">
              <a:alpha val="9000"/>
            </a:scheme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rIns="72000" rtlCol="0" anchor="ctr"/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Municipal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by-law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governing informal trade and actions of local government officials should b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in line with the Constitution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and based on a better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understanding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of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nature, structure and composition of the informal trading secto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4E50010-6F92-5116-7A2F-78CCB2C9414E}"/>
              </a:ext>
            </a:extLst>
          </p:cNvPr>
          <p:cNvSpPr>
            <a:spLocks noChangeAspect="1"/>
          </p:cNvSpPr>
          <p:nvPr/>
        </p:nvSpPr>
        <p:spPr>
          <a:xfrm>
            <a:off x="838573" y="1272229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i="1" dirty="0"/>
              <a:t>1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6178D365-A071-1D7C-F3B0-229474E7376E}"/>
              </a:ext>
            </a:extLst>
          </p:cNvPr>
          <p:cNvSpPr/>
          <p:nvPr/>
        </p:nvSpPr>
        <p:spPr>
          <a:xfrm>
            <a:off x="1037230" y="4678566"/>
            <a:ext cx="10849045" cy="618186"/>
          </a:xfrm>
          <a:prstGeom prst="roundRect">
            <a:avLst/>
          </a:prstGeom>
          <a:solidFill>
            <a:schemeClr val="accent1">
              <a:alpha val="9000"/>
            </a:scheme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Municipal by-laws governing informal trade should ensure that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conduct of the local government officials complies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with the standards of administrative law 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0C338C3-5F70-CC58-0824-D0F1CAFFC9F1}"/>
              </a:ext>
            </a:extLst>
          </p:cNvPr>
          <p:cNvSpPr>
            <a:spLocks noChangeAspect="1"/>
          </p:cNvSpPr>
          <p:nvPr/>
        </p:nvSpPr>
        <p:spPr>
          <a:xfrm>
            <a:off x="838573" y="4663659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i="1" dirty="0"/>
              <a:t>6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806BFA1B-AE72-5FB6-5DE3-1AE318BC2E42}"/>
              </a:ext>
            </a:extLst>
          </p:cNvPr>
          <p:cNvSpPr/>
          <p:nvPr/>
        </p:nvSpPr>
        <p:spPr>
          <a:xfrm>
            <a:off x="1037230" y="2643708"/>
            <a:ext cx="10849045" cy="618186"/>
          </a:xfrm>
          <a:prstGeom prst="roundRect">
            <a:avLst/>
          </a:prstGeom>
          <a:solidFill>
            <a:schemeClr val="accent1">
              <a:alpha val="9000"/>
            </a:scheme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Any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relocation or eviction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of informal traders from their trading spaces must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comply with the legal provisions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governing informal trade (in particular section 6A(2) of the Businesses Act)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15972BF-AD7A-434F-DE81-D143B20C046A}"/>
              </a:ext>
            </a:extLst>
          </p:cNvPr>
          <p:cNvSpPr>
            <a:spLocks noChangeAspect="1"/>
          </p:cNvSpPr>
          <p:nvPr/>
        </p:nvSpPr>
        <p:spPr>
          <a:xfrm>
            <a:off x="838573" y="2628801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i="1" dirty="0"/>
              <a:t>3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A89E91-612E-C53C-C65D-712C837DB876}"/>
              </a:ext>
            </a:extLst>
          </p:cNvPr>
          <p:cNvSpPr/>
          <p:nvPr/>
        </p:nvSpPr>
        <p:spPr>
          <a:xfrm>
            <a:off x="1037230" y="3321994"/>
            <a:ext cx="10849045" cy="618186"/>
          </a:xfrm>
          <a:prstGeom prst="roundRect">
            <a:avLst/>
          </a:prstGeom>
          <a:solidFill>
            <a:schemeClr val="accent1">
              <a:alpha val="9000"/>
            </a:scheme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Municipalities should ensure that informal trade areas have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necessary infrastructure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and level of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access to basic service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, including water, sanitation, refuse removal and cleaning service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C0559E0-6D0D-A2CE-8427-DE877749B77D}"/>
              </a:ext>
            </a:extLst>
          </p:cNvPr>
          <p:cNvSpPr>
            <a:spLocks noChangeAspect="1"/>
          </p:cNvSpPr>
          <p:nvPr/>
        </p:nvSpPr>
        <p:spPr>
          <a:xfrm>
            <a:off x="838573" y="3307087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i="1" dirty="0"/>
              <a:t>4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52EDB620-880A-BC77-0499-E4C1DCAC96C9}"/>
              </a:ext>
            </a:extLst>
          </p:cNvPr>
          <p:cNvSpPr/>
          <p:nvPr/>
        </p:nvSpPr>
        <p:spPr>
          <a:xfrm>
            <a:off x="1037230" y="4000280"/>
            <a:ext cx="10849045" cy="618186"/>
          </a:xfrm>
          <a:prstGeom prst="roundRect">
            <a:avLst/>
          </a:prstGeom>
          <a:solidFill>
            <a:schemeClr val="accent1">
              <a:alpha val="9000"/>
            </a:scheme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Municipal by-laws and policies governing informal trade should create genuinely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participatory and inclusive spaces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through which informal traders can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participate in decision-making processes 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E0CC931-FB7C-EA9E-5C17-3FDACAE8946A}"/>
              </a:ext>
            </a:extLst>
          </p:cNvPr>
          <p:cNvSpPr>
            <a:spLocks noChangeAspect="1"/>
          </p:cNvSpPr>
          <p:nvPr/>
        </p:nvSpPr>
        <p:spPr>
          <a:xfrm>
            <a:off x="838573" y="3985373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i="1" dirty="0"/>
              <a:t>5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04C510F-BA3C-4D14-21DF-5587C7BB9487}"/>
              </a:ext>
            </a:extLst>
          </p:cNvPr>
          <p:cNvSpPr/>
          <p:nvPr/>
        </p:nvSpPr>
        <p:spPr>
          <a:xfrm>
            <a:off x="1037230" y="1965422"/>
            <a:ext cx="10849045" cy="618186"/>
          </a:xfrm>
          <a:prstGeom prst="roundRect">
            <a:avLst/>
          </a:prstGeom>
          <a:solidFill>
            <a:schemeClr val="accent1">
              <a:alpha val="9000"/>
            </a:scheme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Thes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by-law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and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policie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should create an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enabling environment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for informal trade and should distinguish between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severity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of contraventions of by-laws and provide for a variety of measures to encourage informal traders to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comply</a:t>
            </a:r>
            <a:endParaRPr lang="en-US" sz="1400" dirty="0">
              <a:solidFill>
                <a:schemeClr val="tx1"/>
              </a:solidFill>
              <a:latin typeface="Quicksand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08FAFC1-C328-477D-CF94-4C04A812CC48}"/>
              </a:ext>
            </a:extLst>
          </p:cNvPr>
          <p:cNvSpPr>
            <a:spLocks noChangeAspect="1"/>
          </p:cNvSpPr>
          <p:nvPr/>
        </p:nvSpPr>
        <p:spPr>
          <a:xfrm>
            <a:off x="838573" y="1950515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i="1" dirty="0"/>
              <a:t>2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67DFCDE1-CA11-2079-2B16-F51D4EFD69CD}"/>
              </a:ext>
            </a:extLst>
          </p:cNvPr>
          <p:cNvSpPr/>
          <p:nvPr/>
        </p:nvSpPr>
        <p:spPr>
          <a:xfrm>
            <a:off x="1037230" y="5356854"/>
            <a:ext cx="10849045" cy="618186"/>
          </a:xfrm>
          <a:prstGeom prst="roundRect">
            <a:avLst/>
          </a:prstGeom>
          <a:solidFill>
            <a:schemeClr val="accent1">
              <a:alpha val="9000"/>
            </a:scheme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Municipal by-laws governing informal trade should includ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mechanisms to hold local government officials responsible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for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implementation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of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by-law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and accountable for any unlawful actions 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F70153D-7908-39E7-5298-E03B16B82515}"/>
              </a:ext>
            </a:extLst>
          </p:cNvPr>
          <p:cNvSpPr>
            <a:spLocks noChangeAspect="1"/>
          </p:cNvSpPr>
          <p:nvPr/>
        </p:nvSpPr>
        <p:spPr>
          <a:xfrm>
            <a:off x="838573" y="5341947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i="1" dirty="0"/>
              <a:t>7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DF46E0-4782-7935-EF80-586F3B9E5343}"/>
              </a:ext>
            </a:extLst>
          </p:cNvPr>
          <p:cNvSpPr>
            <a:spLocks/>
          </p:cNvSpPr>
          <p:nvPr/>
        </p:nvSpPr>
        <p:spPr>
          <a:xfrm>
            <a:off x="859197" y="6468070"/>
            <a:ext cx="6369004" cy="3151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 anchorCtr="0"/>
          <a:lstStyle/>
          <a:p>
            <a:pPr lvl="0">
              <a:defRPr/>
            </a:pPr>
            <a:r>
              <a:rPr kumimoji="0" lang="en-ZA" sz="10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Quicksand" pitchFamily="2" charset="0"/>
                <a:cs typeface="Calibri" panose="020F0502020204030204" pitchFamily="34" charset="0"/>
              </a:rPr>
              <a:t>Source: </a:t>
            </a:r>
            <a:r>
              <a:rPr lang="en-US" sz="1000" dirty="0">
                <a:solidFill>
                  <a:schemeClr val="bg2"/>
                </a:solidFill>
                <a:latin typeface="Quicksand" pitchFamily="2" charset="0"/>
                <a:cs typeface="Calibri" panose="020F0502020204030204" pitchFamily="34" charset="0"/>
              </a:rPr>
              <a:t>Hodgson and Clark, Socio-Economic Rights Institute in collaboration with SALGA</a:t>
            </a:r>
          </a:p>
        </p:txBody>
      </p:sp>
    </p:spTree>
    <p:extLst>
      <p:ext uri="{BB962C8B-B14F-4D97-AF65-F5344CB8AC3E}">
        <p14:creationId xmlns:p14="http://schemas.microsoft.com/office/powerpoint/2010/main" val="30058048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Conclusion</a:t>
            </a:r>
            <a:endParaRPr lang="en-GB" sz="40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DF46E0-4782-7935-EF80-586F3B9E5343}"/>
              </a:ext>
            </a:extLst>
          </p:cNvPr>
          <p:cNvSpPr>
            <a:spLocks/>
          </p:cNvSpPr>
          <p:nvPr/>
        </p:nvSpPr>
        <p:spPr>
          <a:xfrm>
            <a:off x="859197" y="6468070"/>
            <a:ext cx="6369004" cy="3151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 anchorCtr="0"/>
          <a:lstStyle/>
          <a:p>
            <a:pPr lvl="0">
              <a:defRPr/>
            </a:pPr>
            <a:r>
              <a:rPr kumimoji="0" lang="en-ZA" sz="10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Quicksand" pitchFamily="2" charset="0"/>
                <a:cs typeface="Calibri" panose="020F0502020204030204" pitchFamily="34" charset="0"/>
              </a:rPr>
              <a:t>Source: </a:t>
            </a:r>
            <a:r>
              <a:rPr lang="en-US" sz="1000" dirty="0">
                <a:solidFill>
                  <a:schemeClr val="bg2"/>
                </a:solidFill>
                <a:latin typeface="Quicksand" pitchFamily="2" charset="0"/>
                <a:cs typeface="Calibri" panose="020F0502020204030204" pitchFamily="34" charset="0"/>
              </a:rPr>
              <a:t>Hodgson and Clark, Socio-Economic Rights Institute in collaboration with SALGA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805C977E-D5DE-9962-14AE-086BCCD81967}"/>
              </a:ext>
            </a:extLst>
          </p:cNvPr>
          <p:cNvSpPr/>
          <p:nvPr/>
        </p:nvSpPr>
        <p:spPr>
          <a:xfrm>
            <a:off x="900757" y="2957581"/>
            <a:ext cx="3349200" cy="2951900"/>
          </a:xfrm>
          <a:prstGeom prst="roundRect">
            <a:avLst/>
          </a:prstGeom>
          <a:solidFill>
            <a:srgbClr val="1063AD">
              <a:lumMod val="20000"/>
              <a:lumOff val="80000"/>
              <a:alpha val="9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63500" sx="102000" sy="102000" algn="ctr" rotWithShape="0">
              <a:srgbClr val="262626">
                <a:alpha val="20000"/>
              </a:srgb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txBody>
          <a:bodyPr lIns="36000" rIns="36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Quicksand"/>
              </a:rPr>
              <a:t>The informal economy is here to stay and will have a positive impac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 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“The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pivotal rol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of the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urba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informal sector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is expected to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continu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 in the foreseeable future in light of Africa’s growing population”  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In South Africa, the informal sector will create between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1.2 and 2 million new job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 by 2030 </a:t>
            </a:r>
          </a:p>
        </p:txBody>
      </p: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C5B96B34-2A6C-ECD3-635E-4024F2F7B43B}"/>
              </a:ext>
            </a:extLst>
          </p:cNvPr>
          <p:cNvSpPr/>
          <p:nvPr/>
        </p:nvSpPr>
        <p:spPr>
          <a:xfrm>
            <a:off x="4598624" y="2957579"/>
            <a:ext cx="3346704" cy="2948351"/>
          </a:xfrm>
          <a:prstGeom prst="roundRect">
            <a:avLst/>
          </a:prstGeom>
          <a:solidFill>
            <a:srgbClr val="1063AD">
              <a:lumMod val="20000"/>
              <a:lumOff val="80000"/>
              <a:alpha val="9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63500" sx="102000" sy="102000" algn="ctr" rotWithShape="0">
              <a:srgbClr val="262626">
                <a:alpha val="20000"/>
              </a:srgb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txBody>
          <a:bodyPr lIns="36000" rIns="36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Quicksand"/>
                <a:cs typeface="Arial" panose="020B0604020202020204" pitchFamily="34" charset="0"/>
              </a:rPr>
              <a:t>Governments need to actively support informal worker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icksand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/>
                <a:cs typeface="Arial" panose="020B0604020202020204" pitchFamily="34" charset="0"/>
              </a:rPr>
              <a:t>Government should adhere to </a:t>
            </a: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/>
                <a:cs typeface="Arial" panose="020B0604020202020204" pitchFamily="34" charset="0"/>
              </a:rPr>
              <a:t>international labour standards </a:t>
            </a: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/>
                <a:cs typeface="Arial" panose="020B0604020202020204" pitchFamily="34" charset="0"/>
              </a:rPr>
              <a:t>– in particular the realisation of rights at work and social protection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/>
                <a:cs typeface="Arial" panose="020B0604020202020204" pitchFamily="34" charset="0"/>
              </a:rPr>
              <a:t>Government should </a:t>
            </a: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/>
                <a:cs typeface="Arial" panose="020B0604020202020204" pitchFamily="34" charset="0"/>
              </a:rPr>
              <a:t>remove constraints </a:t>
            </a: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/>
                <a:cs typeface="Arial" panose="020B0604020202020204" pitchFamily="34" charset="0"/>
              </a:rPr>
              <a:t>to create an </a:t>
            </a: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/>
                <a:cs typeface="Arial" panose="020B0604020202020204" pitchFamily="34" charset="0"/>
              </a:rPr>
              <a:t>enabling environment</a:t>
            </a:r>
            <a:r>
              <a:rPr kumimoji="0" lang="en-ZA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/>
                <a:cs typeface="Arial" panose="020B0604020202020204" pitchFamily="34" charset="0"/>
              </a:rPr>
              <a:t> for informal work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6D86A72D-15A9-62FC-5038-23333799962E}"/>
              </a:ext>
            </a:extLst>
          </p:cNvPr>
          <p:cNvSpPr/>
          <p:nvPr/>
        </p:nvSpPr>
        <p:spPr>
          <a:xfrm>
            <a:off x="8293995" y="2957579"/>
            <a:ext cx="3346704" cy="2948351"/>
          </a:xfrm>
          <a:prstGeom prst="roundRect">
            <a:avLst/>
          </a:prstGeom>
          <a:solidFill>
            <a:srgbClr val="1063AD">
              <a:lumMod val="20000"/>
              <a:lumOff val="80000"/>
              <a:alpha val="9000"/>
            </a:srgbClr>
          </a:solidFill>
          <a:ln w="38100" cap="flat" cmpd="sng" algn="ctr">
            <a:solidFill>
              <a:srgbClr val="FFFFFF"/>
            </a:solidFill>
            <a:prstDash val="solid"/>
          </a:ln>
          <a:effectLst>
            <a:outerShdw blurRad="63500" sx="102000" sy="102000" algn="ctr" rotWithShape="0">
              <a:srgbClr val="262626">
                <a:alpha val="20000"/>
              </a:srgb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txBody>
          <a:bodyPr lIns="36000" rIns="36000"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Quicksand"/>
              </a:rPr>
              <a:t>As we strengthen our systems we should include informal worker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Quicksand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We need to look at how to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incorporate the “informal” and the “excluded”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into our conversations as well as into</a:t>
            </a:r>
            <a:r>
              <a:rPr kumimoji="0" lang="en-US" sz="1400" b="0" i="0" u="none" strike="noStrike" kern="0" cap="none" spc="0" normalizeH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 th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 decision-making processes relating to the strengthening of the various societal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Quicksand"/>
              </a:rPr>
              <a:t>system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9373347" y="1335906"/>
            <a:ext cx="1188000" cy="1188000"/>
            <a:chOff x="9496124" y="1581570"/>
            <a:chExt cx="1188000" cy="118800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8E3EEF8F-C740-60A4-D5B7-1300CF6B60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96124" y="1581570"/>
              <a:ext cx="1188000" cy="1188000"/>
            </a:xfrm>
            <a:prstGeom prst="ellipse">
              <a:avLst/>
            </a:prstGeom>
            <a:solidFill>
              <a:schemeClr val="accent2"/>
            </a:solidFill>
            <a:ln w="38100" cap="flat" cmpd="sng" algn="ctr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srgbClr val="262626">
                  <a:alpha val="20000"/>
                </a:srgbClr>
              </a:outerShdw>
            </a:effectLst>
            <a:scene3d>
              <a:camera prst="orthographicFront"/>
              <a:lightRig rig="contrasting" dir="t"/>
            </a:scene3d>
            <a:sp3d>
              <a:bevelT w="139700" h="139700"/>
            </a:sp3d>
          </p:spPr>
          <p:txBody>
            <a:bodyPr lIns="0" r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8" name="Graphic 29" descr="Gears with solid fill">
              <a:extLst>
                <a:ext uri="{FF2B5EF4-FFF2-40B4-BE49-F238E27FC236}">
                  <a16:creationId xmlns:a16="http://schemas.microsoft.com/office/drawing/2014/main" id="{289D94EB-96EC-4F7D-5456-5A24DEE89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668028" y="1754946"/>
              <a:ext cx="841248" cy="841248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5677976" y="1335906"/>
            <a:ext cx="1188000" cy="1188000"/>
            <a:chOff x="5521024" y="1581570"/>
            <a:chExt cx="1188000" cy="118800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3BB730B-1B00-805F-73AC-0C3CB01B9C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21024" y="1581570"/>
              <a:ext cx="1188000" cy="1188000"/>
            </a:xfrm>
            <a:prstGeom prst="ellipse">
              <a:avLst/>
            </a:prstGeom>
            <a:solidFill>
              <a:schemeClr val="accent1"/>
            </a:solidFill>
            <a:ln w="38100" cap="flat" cmpd="sng" algn="ctr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srgbClr val="262626">
                  <a:alpha val="20000"/>
                </a:srgbClr>
              </a:outerShdw>
            </a:effectLst>
            <a:scene3d>
              <a:camera prst="orthographicFront"/>
              <a:lightRig rig="contrasting" dir="t"/>
            </a:scene3d>
            <a:sp3d>
              <a:bevelT w="139700" h="139700"/>
            </a:sp3d>
          </p:spPr>
          <p:txBody>
            <a:bodyPr lIns="0" r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9" name="Graphic 31" descr="Bank with solid fill">
              <a:extLst>
                <a:ext uri="{FF2B5EF4-FFF2-40B4-BE49-F238E27FC236}">
                  <a16:creationId xmlns:a16="http://schemas.microsoft.com/office/drawing/2014/main" id="{E2149890-2C75-95CB-2815-360AE6C5E37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26404" y="1786950"/>
              <a:ext cx="777240" cy="777240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981357" y="1335906"/>
            <a:ext cx="1188000" cy="1188000"/>
            <a:chOff x="1859506" y="1581570"/>
            <a:chExt cx="1188000" cy="118800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9EABDBE-42F0-AFC0-6DB9-10D64C211E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59506" y="1581570"/>
              <a:ext cx="1188000" cy="1188000"/>
            </a:xfrm>
            <a:prstGeom prst="ellipse">
              <a:avLst/>
            </a:prstGeom>
            <a:solidFill>
              <a:schemeClr val="bg2"/>
            </a:solidFill>
            <a:ln w="38100" cap="flat" cmpd="sng" algn="ctr">
              <a:solidFill>
                <a:srgbClr val="FFFFFF"/>
              </a:solidFill>
              <a:prstDash val="solid"/>
            </a:ln>
            <a:effectLst>
              <a:outerShdw blurRad="63500" sx="102000" sy="102000" algn="ctr" rotWithShape="0">
                <a:srgbClr val="262626">
                  <a:alpha val="20000"/>
                </a:srgbClr>
              </a:outerShdw>
            </a:effectLst>
            <a:scene3d>
              <a:camera prst="orthographicFront"/>
              <a:lightRig rig="contrasting" dir="t"/>
            </a:scene3d>
            <a:sp3d>
              <a:bevelT w="139700" h="139700"/>
            </a:sp3d>
          </p:spPr>
          <p:txBody>
            <a:bodyPr lIns="0" r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0" name="Graphic 33" descr="Coins with solid fill">
              <a:extLst>
                <a:ext uri="{FF2B5EF4-FFF2-40B4-BE49-F238E27FC236}">
                  <a16:creationId xmlns:a16="http://schemas.microsoft.com/office/drawing/2014/main" id="{E50BBD96-25E3-5AB0-679D-5B2AC39D2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064886" y="1786950"/>
              <a:ext cx="777240" cy="7772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46359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EBD55DFE-FC06-6E71-594A-4D82E8C8097E}"/>
              </a:ext>
            </a:extLst>
          </p:cNvPr>
          <p:cNvSpPr/>
          <p:nvPr/>
        </p:nvSpPr>
        <p:spPr>
          <a:xfrm>
            <a:off x="0" y="6005015"/>
            <a:ext cx="12192000" cy="852985"/>
          </a:xfrm>
          <a:prstGeom prst="rect">
            <a:avLst/>
          </a:prstGeom>
          <a:solidFill>
            <a:srgbClr val="F7F7F7">
              <a:alpha val="4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bg2"/>
                </a:solidFill>
                <a:latin typeface="Quicksand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17" name="Picture 20" descr="a view of a city with a train in the foreground">
            <a:extLst>
              <a:ext uri="{FF2B5EF4-FFF2-40B4-BE49-F238E27FC236}">
                <a16:creationId xmlns:a16="http://schemas.microsoft.com/office/drawing/2014/main" id="{285DFBF7-869D-B4F8-E913-8F1F112F00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236"/>
          <a:stretch/>
        </p:blipFill>
        <p:spPr bwMode="auto">
          <a:xfrm>
            <a:off x="0" y="0"/>
            <a:ext cx="12192000" cy="60050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42516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F7C5378-A18E-F132-33F8-2439582BED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6437" y="232471"/>
            <a:ext cx="9514841" cy="1004380"/>
          </a:xfrm>
          <a:prstGeom prst="rect">
            <a:avLst/>
          </a:prstGeom>
        </p:spPr>
      </p:pic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98ED0A5C-B1F0-A944-0555-E3E3B7CFA7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94" y="4717176"/>
            <a:ext cx="1537163" cy="10532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17910DA-9265-F335-841B-267430206F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658" y="4847264"/>
            <a:ext cx="1540727" cy="61994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67AC3B6-FF09-E86F-ACA5-85410D39AB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7189" y="1953996"/>
            <a:ext cx="3094543" cy="1224649"/>
          </a:xfrm>
          <a:prstGeom prst="rect">
            <a:avLst/>
          </a:prstGeom>
        </p:spPr>
      </p:pic>
      <p:pic>
        <p:nvPicPr>
          <p:cNvPr id="8" name="Picture 7" descr="A picture containing shape&#10;&#10;Description automatically generated">
            <a:extLst>
              <a:ext uri="{FF2B5EF4-FFF2-40B4-BE49-F238E27FC236}">
                <a16:creationId xmlns:a16="http://schemas.microsoft.com/office/drawing/2014/main" id="{BAA79A97-A744-4E5D-C725-95FB73CE6F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308" y="2188590"/>
            <a:ext cx="938825" cy="1016719"/>
          </a:xfrm>
          <a:prstGeom prst="rect">
            <a:avLst/>
          </a:prstGeom>
        </p:spPr>
      </p:pic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CAD00AC7-923F-DAE9-D747-E35E1E17C8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770" y="5938983"/>
            <a:ext cx="1323897" cy="551624"/>
          </a:xfrm>
          <a:prstGeom prst="rect">
            <a:avLst/>
          </a:prstGeom>
        </p:spPr>
      </p:pic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51CD7E15-555F-B552-7DD1-5A801B47DA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555" y="4657539"/>
            <a:ext cx="1225550" cy="73776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32F1418-3BC5-51E6-E549-D427BA59DB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956" y="4743977"/>
            <a:ext cx="1701800" cy="553085"/>
          </a:xfrm>
          <a:prstGeom prst="rect">
            <a:avLst/>
          </a:prstGeom>
        </p:spPr>
      </p:pic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D6C665B7-2F7D-E704-7599-3EF86D714C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3923" y="2183518"/>
            <a:ext cx="2336800" cy="700291"/>
          </a:xfrm>
          <a:prstGeom prst="rect">
            <a:avLst/>
          </a:prstGeom>
        </p:spPr>
      </p:pic>
      <p:pic>
        <p:nvPicPr>
          <p:cNvPr id="13" name="Picture 12" descr="Shape&#10;&#10;Description automatically generated with medium confidence">
            <a:extLst>
              <a:ext uri="{FF2B5EF4-FFF2-40B4-BE49-F238E27FC236}">
                <a16:creationId xmlns:a16="http://schemas.microsoft.com/office/drawing/2014/main" id="{5C30B21B-DDD6-3DAE-5601-ABC04D7AC4F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800" y="2327388"/>
            <a:ext cx="2059167" cy="412551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6D8B330E-54DD-3AD5-AB77-DCB755D6E70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76" y="3341472"/>
            <a:ext cx="853529" cy="9398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43527BB-AA46-85EF-06D7-16F773948BA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44258" y="3452506"/>
            <a:ext cx="1852253" cy="848360"/>
          </a:xfrm>
          <a:prstGeom prst="rect">
            <a:avLst/>
          </a:prstGeom>
        </p:spPr>
      </p:pic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556A780C-2151-597D-2112-9B5764DFB4C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946" y="3231527"/>
            <a:ext cx="1828800" cy="1137920"/>
          </a:xfrm>
          <a:prstGeom prst="rect">
            <a:avLst/>
          </a:prstGeom>
        </p:spPr>
      </p:pic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A6808CC2-7DDA-7D4C-69A1-C60BD4091A9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3623" y="3538322"/>
            <a:ext cx="2184400" cy="5461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47B59B8-AE8F-57E3-C16C-DD7ECFA62A6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0080" y="3596393"/>
            <a:ext cx="2285153" cy="429959"/>
          </a:xfrm>
          <a:prstGeom prst="rect">
            <a:avLst/>
          </a:prstGeom>
        </p:spPr>
      </p:pic>
      <p:pic>
        <p:nvPicPr>
          <p:cNvPr id="19" name="Picture 18" descr="A picture containing logo&#10;&#10;Description automatically generated">
            <a:extLst>
              <a:ext uri="{FF2B5EF4-FFF2-40B4-BE49-F238E27FC236}">
                <a16:creationId xmlns:a16="http://schemas.microsoft.com/office/drawing/2014/main" id="{3D985E9A-74CA-6E83-BBDE-47EE1D51661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650" y="4510215"/>
            <a:ext cx="1098550" cy="1098550"/>
          </a:xfrm>
          <a:prstGeom prst="rect">
            <a:avLst/>
          </a:prstGeom>
        </p:spPr>
      </p:pic>
      <p:pic>
        <p:nvPicPr>
          <p:cNvPr id="20" name="Picture 19" descr="Background pattern&#10;&#10;Description automatically generated">
            <a:extLst>
              <a:ext uri="{FF2B5EF4-FFF2-40B4-BE49-F238E27FC236}">
                <a16:creationId xmlns:a16="http://schemas.microsoft.com/office/drawing/2014/main" id="{BCE43ACB-3D5A-CEDA-5D81-5D3D08B8A92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5593" y="5902511"/>
            <a:ext cx="1633385" cy="744306"/>
          </a:xfrm>
          <a:prstGeom prst="rect">
            <a:avLst/>
          </a:prstGeom>
        </p:spPr>
      </p:pic>
      <p:pic>
        <p:nvPicPr>
          <p:cNvPr id="21" name="Picture 2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199D1E2-EBFF-5BD5-4628-CA605A186F4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1240" y="5867315"/>
            <a:ext cx="1424828" cy="71686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0F94E1B-97AB-7E8F-BF78-9DD4E2AD666A}"/>
              </a:ext>
            </a:extLst>
          </p:cNvPr>
          <p:cNvSpPr txBox="1"/>
          <p:nvPr/>
        </p:nvSpPr>
        <p:spPr>
          <a:xfrm>
            <a:off x="2335696" y="1105930"/>
            <a:ext cx="713629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Bryant Medium Italic" panose="020B0603040000020003" pitchFamily="34" charset="77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Bryant Medium Italic" panose="020B0603040000020003" pitchFamily="34" charset="77"/>
                <a:ea typeface="+mn-ea"/>
                <a:cs typeface="+mn-cs"/>
              </a:rPr>
              <a:t>All Systems Connect 2023 is made possible thanks to the generous support of our partners including the World Health Organization and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Bryant Medium Italic" panose="020B06030400000200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80986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66C319-57D0-DB9C-4A90-1EA5D306D5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formal Trade</a:t>
            </a:r>
            <a:endParaRPr lang="en-GB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301BC9A-F195-A9B2-D315-D981F424012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 South African Perspective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3315F5-271F-7F92-6581-168BC31B8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00A79D"/>
                </a:solidFill>
              </a:rPr>
              <a:t>Kelebogile Khunou, 4 May 2023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A79D"/>
              </a:solidFill>
              <a:effectLst/>
              <a:uLnTx/>
              <a:uFillTx/>
              <a:latin typeface="Quicksand" pitchFamily="2" charset="0"/>
              <a:ea typeface="+mn-ea"/>
              <a:cs typeface="+mn-cs"/>
            </a:endParaRPr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C10D1055-A09C-5D0E-6378-40926C368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2209" y="5614773"/>
            <a:ext cx="1547594" cy="108868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00072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6" name="Picture 6" descr="Ghana, Market, Informal Economy, Women Workers">
            <a:extLst>
              <a:ext uri="{FF2B5EF4-FFF2-40B4-BE49-F238E27FC236}">
                <a16:creationId xmlns:a16="http://schemas.microsoft.com/office/drawing/2014/main" id="{9914C5F2-45FC-AAB5-92D9-ED5FF7AD77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3" b="1915"/>
          <a:stretch/>
        </p:blipFill>
        <p:spPr bwMode="auto">
          <a:xfrm>
            <a:off x="-3" y="-45244"/>
            <a:ext cx="12192003" cy="6901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77A731E-7C0F-D19C-BCB1-0D600C302FB7}"/>
              </a:ext>
            </a:extLst>
          </p:cNvPr>
          <p:cNvSpPr/>
          <p:nvPr/>
        </p:nvSpPr>
        <p:spPr>
          <a:xfrm>
            <a:off x="4080680" y="6071593"/>
            <a:ext cx="4067032" cy="784746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schemeClr val="accent3"/>
                </a:solidFill>
                <a:effectLst/>
                <a:latin typeface="Quicksand" pitchFamily="2" charset="0"/>
              </a:rPr>
              <a:t>What do you see?</a:t>
            </a:r>
          </a:p>
        </p:txBody>
      </p:sp>
    </p:spTree>
    <p:extLst>
      <p:ext uri="{BB962C8B-B14F-4D97-AF65-F5344CB8AC3E}">
        <p14:creationId xmlns:p14="http://schemas.microsoft.com/office/powerpoint/2010/main" val="90529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Misconceptions about the Informal Economy</a:t>
            </a:r>
            <a:endParaRPr lang="en-GB" sz="4000" dirty="0"/>
          </a:p>
        </p:txBody>
      </p:sp>
      <p:sp>
        <p:nvSpPr>
          <p:cNvPr id="11295" name="Rectangle 11294">
            <a:extLst>
              <a:ext uri="{FF2B5EF4-FFF2-40B4-BE49-F238E27FC236}">
                <a16:creationId xmlns:a16="http://schemas.microsoft.com/office/drawing/2014/main" id="{A9DF46E0-4782-7935-EF80-586F3B9E5343}"/>
              </a:ext>
            </a:extLst>
          </p:cNvPr>
          <p:cNvSpPr>
            <a:spLocks/>
          </p:cNvSpPr>
          <p:nvPr/>
        </p:nvSpPr>
        <p:spPr>
          <a:xfrm>
            <a:off x="859197" y="6468070"/>
            <a:ext cx="6369004" cy="3151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 anchorCtr="0"/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ZA" sz="10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Quicksand" pitchFamily="2" charset="0"/>
                <a:cs typeface="Calibri" panose="020F0502020204030204" pitchFamily="34" charset="0"/>
              </a:rPr>
              <a:t>Source: WIEGO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5BD1933F-0972-CEB1-0947-9EDD015EA22A}"/>
              </a:ext>
            </a:extLst>
          </p:cNvPr>
          <p:cNvSpPr/>
          <p:nvPr/>
        </p:nvSpPr>
        <p:spPr>
          <a:xfrm>
            <a:off x="1274925" y="1606031"/>
            <a:ext cx="4821075" cy="618186"/>
          </a:xfrm>
          <a:prstGeom prst="roundRect">
            <a:avLst/>
          </a:prstGeom>
          <a:solidFill>
            <a:srgbClr val="FF0000">
              <a:alpha val="9000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Ins="72000" rtlCol="0" anchor="ctr"/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The informal economy will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shrink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with economic growth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234683C4-61F8-BB21-64A2-361B9F3FE8ED}"/>
              </a:ext>
            </a:extLst>
          </p:cNvPr>
          <p:cNvSpPr/>
          <p:nvPr/>
        </p:nvSpPr>
        <p:spPr>
          <a:xfrm>
            <a:off x="6137315" y="1606031"/>
            <a:ext cx="5112000" cy="618186"/>
          </a:xfrm>
          <a:prstGeom prst="roundRect">
            <a:avLst/>
          </a:prstGeom>
          <a:solidFill>
            <a:srgbClr val="00B050">
              <a:alpha val="9865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Quicksand"/>
              </a:rPr>
              <a:t>Informal employment is likely to remain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main source of employment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in developing countri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D7D01F4-E35C-944B-3E08-3298C3AA4281}"/>
              </a:ext>
            </a:extLst>
          </p:cNvPr>
          <p:cNvSpPr>
            <a:spLocks noChangeAspect="1"/>
          </p:cNvSpPr>
          <p:nvPr/>
        </p:nvSpPr>
        <p:spPr>
          <a:xfrm>
            <a:off x="824925" y="1591124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Quicksand"/>
              </a:rPr>
              <a:t>1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2AB5A83A-C50F-A40D-A66A-0E8E21708126}"/>
              </a:ext>
            </a:extLst>
          </p:cNvPr>
          <p:cNvSpPr/>
          <p:nvPr/>
        </p:nvSpPr>
        <p:spPr>
          <a:xfrm>
            <a:off x="1274925" y="4997461"/>
            <a:ext cx="4821075" cy="618186"/>
          </a:xfrm>
          <a:prstGeom prst="roundRect">
            <a:avLst/>
          </a:prstGeom>
          <a:solidFill>
            <a:srgbClr val="FF0000">
              <a:alpha val="9000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The informal economy does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not contribute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to the overall economy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55376DB3-D3EA-4FFC-8ADC-3BD631433011}"/>
              </a:ext>
            </a:extLst>
          </p:cNvPr>
          <p:cNvSpPr/>
          <p:nvPr/>
        </p:nvSpPr>
        <p:spPr>
          <a:xfrm>
            <a:off x="6137315" y="4997461"/>
            <a:ext cx="5112000" cy="618186"/>
          </a:xfrm>
          <a:prstGeom prst="roundRect">
            <a:avLst/>
          </a:prstGeom>
          <a:solidFill>
            <a:srgbClr val="00B050">
              <a:alpha val="9865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Quicksand"/>
              </a:rPr>
              <a:t>Informal workers produce and distribut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good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and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service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in many branches of the economy and make a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large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contribution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67A88AE-4C33-2F92-AE8F-C65F36054FD4}"/>
              </a:ext>
            </a:extLst>
          </p:cNvPr>
          <p:cNvSpPr>
            <a:spLocks noChangeAspect="1"/>
          </p:cNvSpPr>
          <p:nvPr/>
        </p:nvSpPr>
        <p:spPr>
          <a:xfrm>
            <a:off x="824925" y="4982554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Quicksand"/>
              </a:rPr>
              <a:t>6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3C6B2ACE-E197-55F0-06B6-4BE73C492F84}"/>
              </a:ext>
            </a:extLst>
          </p:cNvPr>
          <p:cNvSpPr/>
          <p:nvPr/>
        </p:nvSpPr>
        <p:spPr>
          <a:xfrm>
            <a:off x="1274925" y="2962603"/>
            <a:ext cx="4821075" cy="618186"/>
          </a:xfrm>
          <a:prstGeom prst="roundRect">
            <a:avLst/>
          </a:prstGeom>
          <a:solidFill>
            <a:srgbClr val="FF0000">
              <a:alpha val="9000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Informal businesses provid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unfair competition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to formal ones as they don’t pay taxes, rent or utility fees</a:t>
            </a: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D7DBFA2E-8C3F-9F3B-2FB8-7D8287C1ADE4}"/>
              </a:ext>
            </a:extLst>
          </p:cNvPr>
          <p:cNvSpPr/>
          <p:nvPr/>
        </p:nvSpPr>
        <p:spPr>
          <a:xfrm>
            <a:off x="6137315" y="2962603"/>
            <a:ext cx="5112000" cy="618186"/>
          </a:xfrm>
          <a:prstGeom prst="roundRect">
            <a:avLst/>
          </a:prstGeom>
          <a:solidFill>
            <a:srgbClr val="00B050">
              <a:alpha val="9865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Quicksand"/>
              </a:rPr>
              <a:t>Many informal workers have to pay various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fee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,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taxe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and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bribes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in order to operate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699B44C-043C-3E17-1DDE-1E0C7146D75C}"/>
              </a:ext>
            </a:extLst>
          </p:cNvPr>
          <p:cNvSpPr>
            <a:spLocks noChangeAspect="1"/>
          </p:cNvSpPr>
          <p:nvPr/>
        </p:nvSpPr>
        <p:spPr>
          <a:xfrm>
            <a:off x="824925" y="2947696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Quicksand"/>
              </a:rPr>
              <a:t>3</a:t>
            </a:r>
          </a:p>
        </p:txBody>
      </p:sp>
      <p:sp>
        <p:nvSpPr>
          <p:cNvPr id="36" name="Rounded Rectangle 35">
            <a:extLst>
              <a:ext uri="{FF2B5EF4-FFF2-40B4-BE49-F238E27FC236}">
                <a16:creationId xmlns:a16="http://schemas.microsoft.com/office/drawing/2014/main" id="{2B1F2EA0-1EAF-E717-826B-D1AE305259CD}"/>
              </a:ext>
            </a:extLst>
          </p:cNvPr>
          <p:cNvSpPr/>
          <p:nvPr/>
        </p:nvSpPr>
        <p:spPr>
          <a:xfrm>
            <a:off x="1274925" y="3640889"/>
            <a:ext cx="4821075" cy="618186"/>
          </a:xfrm>
          <a:prstGeom prst="roundRect">
            <a:avLst/>
          </a:prstGeom>
          <a:solidFill>
            <a:srgbClr val="FF0000">
              <a:alpha val="9000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The informal economy is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not linked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to the formal economy</a:t>
            </a:r>
          </a:p>
        </p:txBody>
      </p:sp>
      <p:sp>
        <p:nvSpPr>
          <p:cNvPr id="37" name="Rounded Rectangle 36">
            <a:extLst>
              <a:ext uri="{FF2B5EF4-FFF2-40B4-BE49-F238E27FC236}">
                <a16:creationId xmlns:a16="http://schemas.microsoft.com/office/drawing/2014/main" id="{5C79428C-5EA4-5322-B6C3-A42135F5CFD3}"/>
              </a:ext>
            </a:extLst>
          </p:cNvPr>
          <p:cNvSpPr/>
          <p:nvPr/>
        </p:nvSpPr>
        <p:spPr>
          <a:xfrm>
            <a:off x="6137315" y="3640889"/>
            <a:ext cx="5112000" cy="618186"/>
          </a:xfrm>
          <a:prstGeom prst="roundRect">
            <a:avLst/>
          </a:prstGeom>
          <a:solidFill>
            <a:srgbClr val="00B050">
              <a:alpha val="9865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Quicksand"/>
              </a:rPr>
              <a:t>There ar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many links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between the informal and formal economies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AF2BE369-6BC7-D0B3-4D04-C0E969A6A5DC}"/>
              </a:ext>
            </a:extLst>
          </p:cNvPr>
          <p:cNvSpPr>
            <a:spLocks noChangeAspect="1"/>
          </p:cNvSpPr>
          <p:nvPr/>
        </p:nvSpPr>
        <p:spPr>
          <a:xfrm>
            <a:off x="824925" y="3625982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Quicksand"/>
              </a:rPr>
              <a:t>4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15DECF4E-A54C-0277-0156-4DF2490628F5}"/>
              </a:ext>
            </a:extLst>
          </p:cNvPr>
          <p:cNvSpPr/>
          <p:nvPr/>
        </p:nvSpPr>
        <p:spPr>
          <a:xfrm>
            <a:off x="1274925" y="4319175"/>
            <a:ext cx="4821075" cy="618186"/>
          </a:xfrm>
          <a:prstGeom prst="roundRect">
            <a:avLst/>
          </a:prstGeom>
          <a:solidFill>
            <a:srgbClr val="FF0000">
              <a:alpha val="9000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The informal economy is comprised of traditional activities which ar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not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part of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modern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economy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FDFE6124-D562-F94B-930E-1AECB502AD7D}"/>
              </a:ext>
            </a:extLst>
          </p:cNvPr>
          <p:cNvSpPr/>
          <p:nvPr/>
        </p:nvSpPr>
        <p:spPr>
          <a:xfrm>
            <a:off x="6137315" y="4319175"/>
            <a:ext cx="5112000" cy="618186"/>
          </a:xfrm>
          <a:prstGeom prst="roundRect">
            <a:avLst/>
          </a:prstGeom>
          <a:solidFill>
            <a:srgbClr val="00B050">
              <a:alpha val="9865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Quicksand"/>
              </a:rPr>
              <a:t>Many informal workers ar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integral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parts of modern chains of production and distribution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7D543952-A9B4-9C2B-4FCF-D24A55924A8F}"/>
              </a:ext>
            </a:extLst>
          </p:cNvPr>
          <p:cNvSpPr>
            <a:spLocks noChangeAspect="1"/>
          </p:cNvSpPr>
          <p:nvPr/>
        </p:nvSpPr>
        <p:spPr>
          <a:xfrm>
            <a:off x="824925" y="4304268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Quicksand"/>
              </a:rPr>
              <a:t>5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6842CF56-F317-8751-2B1C-8288A703261C}"/>
              </a:ext>
            </a:extLst>
          </p:cNvPr>
          <p:cNvSpPr/>
          <p:nvPr/>
        </p:nvSpPr>
        <p:spPr>
          <a:xfrm>
            <a:off x="1274925" y="2284317"/>
            <a:ext cx="4821075" cy="618186"/>
          </a:xfrm>
          <a:prstGeom prst="roundRect">
            <a:avLst/>
          </a:prstGeom>
          <a:solidFill>
            <a:srgbClr val="FF0000">
              <a:alpha val="9000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The informal economy is comprised of plucky entrepreneurs who seek to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avoid tax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and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 regulation</a:t>
            </a: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BDF0F384-355F-A980-7438-7C59D24BAF92}"/>
              </a:ext>
            </a:extLst>
          </p:cNvPr>
          <p:cNvSpPr/>
          <p:nvPr/>
        </p:nvSpPr>
        <p:spPr>
          <a:xfrm>
            <a:off x="6137315" y="2284317"/>
            <a:ext cx="5112000" cy="618186"/>
          </a:xfrm>
          <a:prstGeom prst="roundRect">
            <a:avLst/>
          </a:prstGeom>
          <a:solidFill>
            <a:srgbClr val="00B050">
              <a:alpha val="9865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Quicksand"/>
              </a:rPr>
              <a:t>The majority of informal workers are not employers and just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aim to survive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rather than evade regulation 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E3B72C9B-27DF-23D6-854F-01873BEE3909}"/>
              </a:ext>
            </a:extLst>
          </p:cNvPr>
          <p:cNvSpPr>
            <a:spLocks noChangeAspect="1"/>
          </p:cNvSpPr>
          <p:nvPr/>
        </p:nvSpPr>
        <p:spPr>
          <a:xfrm>
            <a:off x="824925" y="2269410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Quicksand"/>
              </a:rPr>
              <a:t>2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520EDCA7-0C14-706A-C21E-8B7CB77A8B11}"/>
              </a:ext>
            </a:extLst>
          </p:cNvPr>
          <p:cNvSpPr/>
          <p:nvPr/>
        </p:nvSpPr>
        <p:spPr>
          <a:xfrm>
            <a:off x="1274925" y="5675749"/>
            <a:ext cx="4821075" cy="618186"/>
          </a:xfrm>
          <a:prstGeom prst="roundRect">
            <a:avLst/>
          </a:prstGeom>
          <a:solidFill>
            <a:srgbClr val="FF0000">
              <a:alpha val="9000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576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>
                <a:solidFill>
                  <a:schemeClr val="tx1"/>
                </a:solidFill>
                <a:latin typeface="Quicksand"/>
              </a:rPr>
              <a:t>The informal economy is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outside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of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reach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of the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State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 and its laws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CED7EDC2-4BC1-2FFF-2C56-55D3C7D2A281}"/>
              </a:ext>
            </a:extLst>
          </p:cNvPr>
          <p:cNvSpPr/>
          <p:nvPr/>
        </p:nvSpPr>
        <p:spPr>
          <a:xfrm>
            <a:off x="6137315" y="5675749"/>
            <a:ext cx="5112000" cy="618186"/>
          </a:xfrm>
          <a:prstGeom prst="roundRect">
            <a:avLst/>
          </a:prstGeom>
          <a:solidFill>
            <a:srgbClr val="00B050">
              <a:alpha val="9865"/>
            </a:srgbClr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Quicksand"/>
              </a:rPr>
              <a:t>Informal workers are regularly subjected to </a:t>
            </a:r>
            <a:r>
              <a:rPr lang="en-US" sz="1400" b="1" dirty="0">
                <a:solidFill>
                  <a:schemeClr val="tx1"/>
                </a:solidFill>
                <a:latin typeface="Quicksand"/>
              </a:rPr>
              <a:t>punitive laws </a:t>
            </a:r>
            <a:r>
              <a:rPr lang="en-US" sz="1400" dirty="0">
                <a:solidFill>
                  <a:schemeClr val="tx1"/>
                </a:solidFill>
                <a:latin typeface="Quicksand"/>
              </a:rPr>
              <a:t>and regulations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101E7241-F53D-6892-C141-C8F375289EC1}"/>
              </a:ext>
            </a:extLst>
          </p:cNvPr>
          <p:cNvSpPr>
            <a:spLocks noChangeAspect="1"/>
          </p:cNvSpPr>
          <p:nvPr/>
        </p:nvSpPr>
        <p:spPr>
          <a:xfrm>
            <a:off x="824925" y="5660842"/>
            <a:ext cx="648000" cy="648000"/>
          </a:xfrm>
          <a:prstGeom prst="ellipse">
            <a:avLst/>
          </a:prstGeom>
          <a:solidFill>
            <a:schemeClr val="bg2"/>
          </a:solidFill>
          <a:ln w="38100" cmpd="sng">
            <a:solidFill>
              <a:schemeClr val="bg1"/>
            </a:solidFill>
          </a:ln>
          <a:effectLst>
            <a:outerShdw blurRad="63500" sx="102000" sy="102000" algn="ctr" rotWithShape="0">
              <a:schemeClr val="tx2">
                <a:alpha val="20000"/>
              </a:schemeClr>
            </a:outerShdw>
          </a:effectLst>
          <a:scene3d>
            <a:camera prst="orthographicFront"/>
            <a:lightRig rig="contrasting" dir="t"/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Quicksand"/>
              </a:rPr>
              <a:t>7</a:t>
            </a:r>
          </a:p>
        </p:txBody>
      </p:sp>
      <p:pic>
        <p:nvPicPr>
          <p:cNvPr id="52" name="Picture 6">
            <a:extLst>
              <a:ext uri="{FF2B5EF4-FFF2-40B4-BE49-F238E27FC236}">
                <a16:creationId xmlns:a16="http://schemas.microsoft.com/office/drawing/2014/main" id="{A2470E87-53B2-5067-9943-168062BFAC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821"/>
          <a:stretch/>
        </p:blipFill>
        <p:spPr bwMode="auto">
          <a:xfrm>
            <a:off x="2963849" y="1119314"/>
            <a:ext cx="1443226" cy="451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6">
            <a:extLst>
              <a:ext uri="{FF2B5EF4-FFF2-40B4-BE49-F238E27FC236}">
                <a16:creationId xmlns:a16="http://schemas.microsoft.com/office/drawing/2014/main" id="{5B840525-CA2D-A38E-8A66-147843C917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3990" b="12749"/>
          <a:stretch/>
        </p:blipFill>
        <p:spPr bwMode="auto">
          <a:xfrm>
            <a:off x="7971702" y="1167008"/>
            <a:ext cx="1443226" cy="432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9995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South Africa’s Developmental Challenges</a:t>
            </a:r>
            <a:endParaRPr lang="en-GB" sz="4000" dirty="0"/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AFEAFD5D-11C3-F4EB-759B-56148144F4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063796"/>
              </p:ext>
            </p:extLst>
          </p:nvPr>
        </p:nvGraphicFramePr>
        <p:xfrm>
          <a:off x="663159" y="1489149"/>
          <a:ext cx="5535806" cy="45704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A9DF46E0-4782-7935-EF80-586F3B9E5343}"/>
              </a:ext>
            </a:extLst>
          </p:cNvPr>
          <p:cNvSpPr>
            <a:spLocks/>
          </p:cNvSpPr>
          <p:nvPr/>
        </p:nvSpPr>
        <p:spPr>
          <a:xfrm>
            <a:off x="859197" y="6263350"/>
            <a:ext cx="9949830" cy="51276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 anchorCtr="0"/>
          <a:lstStyle/>
          <a:p>
            <a:pPr lvl="0">
              <a:defRPr/>
            </a:pPr>
            <a:r>
              <a:rPr lang="en-US" sz="1000" dirty="0">
                <a:solidFill>
                  <a:schemeClr val="bg2"/>
                </a:solidFill>
                <a:latin typeface="Quicksand" pitchFamily="2" charset="0"/>
                <a:cs typeface="Calibri" panose="020F0502020204030204" pitchFamily="34" charset="0"/>
              </a:rPr>
              <a:t>* Informal employment category includes precarious workers such as those in private households as well as those employed in the agriculture sector as they typically work  </a:t>
            </a:r>
          </a:p>
          <a:p>
            <a:pPr lvl="0">
              <a:defRPr/>
            </a:pPr>
            <a:r>
              <a:rPr lang="en-US" sz="1000" dirty="0">
                <a:solidFill>
                  <a:schemeClr val="bg2"/>
                </a:solidFill>
                <a:latin typeface="Quicksand" pitchFamily="2" charset="0"/>
                <a:cs typeface="Calibri" panose="020F0502020204030204" pitchFamily="34" charset="0"/>
              </a:rPr>
              <a:t>   under informal conditions</a:t>
            </a:r>
          </a:p>
          <a:p>
            <a:pPr lvl="0">
              <a:defRPr/>
            </a:pPr>
            <a:r>
              <a:rPr lang="en-US" sz="1000" dirty="0">
                <a:solidFill>
                  <a:schemeClr val="bg2"/>
                </a:solidFill>
                <a:latin typeface="Quicksand" pitchFamily="2" charset="0"/>
                <a:cs typeface="Calibri" panose="020F0502020204030204" pitchFamily="34" charset="0"/>
              </a:rPr>
              <a:t>Source: Statistics SA, Quarterly Informal Economy Survey by World Economic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1A7D5A-A94F-7F1A-391A-C164BC9D7F4E}"/>
              </a:ext>
            </a:extLst>
          </p:cNvPr>
          <p:cNvSpPr>
            <a:spLocks/>
          </p:cNvSpPr>
          <p:nvPr/>
        </p:nvSpPr>
        <p:spPr>
          <a:xfrm>
            <a:off x="859197" y="1217582"/>
            <a:ext cx="5236803" cy="4036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Quicksand"/>
                <a:cs typeface="Calibri" panose="020F0502020204030204" pitchFamily="34" charset="0"/>
              </a:rPr>
              <a:t>South Africa Employment Landscape (Mn, 2022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AEC293-C2A1-938F-30F8-A540AFB1098D}"/>
              </a:ext>
            </a:extLst>
          </p:cNvPr>
          <p:cNvSpPr/>
          <p:nvPr/>
        </p:nvSpPr>
        <p:spPr>
          <a:xfrm>
            <a:off x="859197" y="1629795"/>
            <a:ext cx="5236803" cy="4429812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lvl="1">
              <a:spcBef>
                <a:spcPts val="526"/>
              </a:spcBef>
              <a:defRPr/>
            </a:pPr>
            <a:endParaRPr lang="en-ZA" sz="1400" b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0A0289-419D-4878-5937-F047BEA46681}"/>
              </a:ext>
            </a:extLst>
          </p:cNvPr>
          <p:cNvSpPr>
            <a:spLocks/>
          </p:cNvSpPr>
          <p:nvPr/>
        </p:nvSpPr>
        <p:spPr>
          <a:xfrm>
            <a:off x="6205338" y="1217582"/>
            <a:ext cx="5286076" cy="4036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400" b="1" dirty="0">
                <a:solidFill>
                  <a:prstClr val="white"/>
                </a:solidFill>
                <a:latin typeface="Quicksand"/>
                <a:cs typeface="Calibri" panose="020F0502020204030204" pitchFamily="34" charset="0"/>
              </a:rPr>
              <a:t>Comments</a:t>
            </a:r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Quicksand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0A1F7AC-7FDB-6728-E19D-8D7B460914AA}"/>
              </a:ext>
            </a:extLst>
          </p:cNvPr>
          <p:cNvSpPr/>
          <p:nvPr/>
        </p:nvSpPr>
        <p:spPr>
          <a:xfrm>
            <a:off x="6205338" y="1629795"/>
            <a:ext cx="5286076" cy="4429812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76213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363538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South Africa’s official </a:t>
            </a:r>
            <a:r>
              <a:rPr lang="en-ZA" sz="1400" b="1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unemployment</a:t>
            </a: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 </a:t>
            </a:r>
            <a:r>
              <a:rPr lang="en-ZA" sz="1400" b="1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rate</a:t>
            </a: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 is </a:t>
            </a:r>
            <a:r>
              <a:rPr lang="en-ZA" sz="1400" b="1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32.7%</a:t>
            </a: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 (Q4 2022)</a:t>
            </a:r>
          </a:p>
          <a:p>
            <a:pPr marL="446088" lvl="1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363538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This doesn’t take into account discouraged job seekers (~3.4 million people)</a:t>
            </a:r>
          </a:p>
          <a:p>
            <a:pPr marL="446088" lvl="1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363538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Women and youth are disproportionally impacted</a:t>
            </a:r>
          </a:p>
          <a:p>
            <a:pPr marL="176213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363538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South Africa is one of the most </a:t>
            </a:r>
            <a:r>
              <a:rPr lang="en-ZA" sz="1400" b="1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unequal</a:t>
            </a: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 countries in the world</a:t>
            </a:r>
          </a:p>
          <a:p>
            <a:pPr marL="446088" lvl="1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363538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It had the highest Gini coefficient globally in 2023</a:t>
            </a:r>
          </a:p>
          <a:p>
            <a:pPr marL="446088" lvl="1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363538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Poverty level was an estimated 63% in 2022 (based on the upper middle income poverty line of the World Bank)</a:t>
            </a:r>
          </a:p>
          <a:p>
            <a:pPr marL="176213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363538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The </a:t>
            </a:r>
            <a:r>
              <a:rPr lang="en-ZA" sz="1400" b="1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informal economy </a:t>
            </a: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is a significant contributor to the </a:t>
            </a:r>
            <a:r>
              <a:rPr lang="en-ZA" sz="1400" b="1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GDP</a:t>
            </a: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 and to </a:t>
            </a:r>
            <a:r>
              <a:rPr lang="en-ZA" sz="1400" b="1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employment</a:t>
            </a: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 in South Africa:</a:t>
            </a:r>
          </a:p>
          <a:p>
            <a:pPr marL="176213" lvl="1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363538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The informal economy contributes 28.8% to the GDP of </a:t>
            </a:r>
            <a:b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</a:b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South Africa (as compared with 10% in the Netherlands and 64% in Zimbabwe)  </a:t>
            </a:r>
          </a:p>
          <a:p>
            <a:pPr marL="446088" lvl="1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Almost a third of people with jobs in South Africa work in the informal sector</a:t>
            </a:r>
          </a:p>
          <a:p>
            <a:pPr marL="446088" lvl="1" indent="-176213">
              <a:spcBef>
                <a:spcPts val="526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269875" algn="l"/>
              </a:tabLst>
              <a:defRPr/>
            </a:pP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Of the people working in the informal sector, </a:t>
            </a:r>
            <a:b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</a:br>
            <a:r>
              <a:rPr lang="en-ZA" sz="1400" dirty="0">
                <a:solidFill>
                  <a:prstClr val="black"/>
                </a:solidFill>
                <a:latin typeface="Quicksand" pitchFamily="2" charset="0"/>
                <a:cs typeface="Calibri" panose="020F0502020204030204" pitchFamily="34" charset="0"/>
              </a:rPr>
              <a:t>~1.1 million work as informal traders</a:t>
            </a:r>
          </a:p>
        </p:txBody>
      </p:sp>
    </p:spTree>
    <p:extLst>
      <p:ext uri="{BB962C8B-B14F-4D97-AF65-F5344CB8AC3E}">
        <p14:creationId xmlns:p14="http://schemas.microsoft.com/office/powerpoint/2010/main" val="259452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Informal Trade in South Africa</a:t>
            </a:r>
            <a:endParaRPr lang="en-GB" sz="4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964FE9-0E0F-27CD-6955-B18B772DB623}"/>
              </a:ext>
            </a:extLst>
          </p:cNvPr>
          <p:cNvSpPr/>
          <p:nvPr/>
        </p:nvSpPr>
        <p:spPr>
          <a:xfrm>
            <a:off x="865858" y="1243623"/>
            <a:ext cx="2584184" cy="163291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DB91CB5-2AAA-FE99-48F7-05ABFAECC0A0}"/>
              </a:ext>
            </a:extLst>
          </p:cNvPr>
          <p:cNvSpPr/>
          <p:nvPr/>
        </p:nvSpPr>
        <p:spPr>
          <a:xfrm>
            <a:off x="865858" y="2876534"/>
            <a:ext cx="2584184" cy="5524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Quicksand"/>
              </a:rPr>
              <a:t>Fruit and vegetable vendors</a:t>
            </a:r>
          </a:p>
        </p:txBody>
      </p:sp>
      <p:pic>
        <p:nvPicPr>
          <p:cNvPr id="29" name="Picture 2" descr="Fruit seller at St. Georges Mall - Cape Town photos - Cape Town photos / South  Africa">
            <a:extLst>
              <a:ext uri="{FF2B5EF4-FFF2-40B4-BE49-F238E27FC236}">
                <a16:creationId xmlns:a16="http://schemas.microsoft.com/office/drawing/2014/main" id="{D2DE843A-5AA1-785E-745B-A611E8E1C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858" y="1243623"/>
            <a:ext cx="2584910" cy="16328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01B71C49-F793-CBD0-1066-4A45F0E1392C}"/>
              </a:ext>
            </a:extLst>
          </p:cNvPr>
          <p:cNvSpPr/>
          <p:nvPr/>
        </p:nvSpPr>
        <p:spPr>
          <a:xfrm>
            <a:off x="865858" y="3767113"/>
            <a:ext cx="2584184" cy="163291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16914C6-289C-95E9-88A3-AC447230ECAA}"/>
              </a:ext>
            </a:extLst>
          </p:cNvPr>
          <p:cNvSpPr/>
          <p:nvPr/>
        </p:nvSpPr>
        <p:spPr>
          <a:xfrm>
            <a:off x="865858" y="5400023"/>
            <a:ext cx="2584184" cy="5486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Quicksand"/>
              </a:rPr>
              <a:t>Shoe salesman</a:t>
            </a:r>
          </a:p>
        </p:txBody>
      </p:sp>
      <p:pic>
        <p:nvPicPr>
          <p:cNvPr id="30" name="Picture 9" descr="page38image1056590800">
            <a:extLst>
              <a:ext uri="{FF2B5EF4-FFF2-40B4-BE49-F238E27FC236}">
                <a16:creationId xmlns:a16="http://schemas.microsoft.com/office/drawing/2014/main" id="{5760CDEA-91F7-CD23-F6A4-9CE483AFFA2C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858" y="3767113"/>
            <a:ext cx="2584910" cy="1634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5D581E6-3F9B-73AB-9777-381934FECD2C}"/>
              </a:ext>
            </a:extLst>
          </p:cNvPr>
          <p:cNvSpPr/>
          <p:nvPr/>
        </p:nvSpPr>
        <p:spPr>
          <a:xfrm>
            <a:off x="3656148" y="3767113"/>
            <a:ext cx="2584184" cy="163291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623F03B-B1C8-77E7-1083-1D8F8EA053CF}"/>
              </a:ext>
            </a:extLst>
          </p:cNvPr>
          <p:cNvSpPr/>
          <p:nvPr/>
        </p:nvSpPr>
        <p:spPr>
          <a:xfrm>
            <a:off x="3656148" y="5400023"/>
            <a:ext cx="2584184" cy="5486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Quicksand"/>
              </a:rPr>
              <a:t>Cosmetics vendor</a:t>
            </a:r>
          </a:p>
        </p:txBody>
      </p:sp>
      <p:pic>
        <p:nvPicPr>
          <p:cNvPr id="32" name="Picture 10" descr="page20image1466977008">
            <a:extLst>
              <a:ext uri="{FF2B5EF4-FFF2-40B4-BE49-F238E27FC236}">
                <a16:creationId xmlns:a16="http://schemas.microsoft.com/office/drawing/2014/main" id="{78C8402A-7D96-C1A7-805B-8C1D9224196E}"/>
              </a:ext>
            </a:extLst>
          </p:cNvPr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6148" y="3767113"/>
            <a:ext cx="2584910" cy="1634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16B37C9F-859A-6D37-00AA-5B68948CB9A4}"/>
              </a:ext>
            </a:extLst>
          </p:cNvPr>
          <p:cNvSpPr/>
          <p:nvPr/>
        </p:nvSpPr>
        <p:spPr>
          <a:xfrm>
            <a:off x="6446438" y="3767113"/>
            <a:ext cx="2584184" cy="163291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F7AD71F-40A4-6551-345C-FA9856AA3CFC}"/>
              </a:ext>
            </a:extLst>
          </p:cNvPr>
          <p:cNvSpPr/>
          <p:nvPr/>
        </p:nvSpPr>
        <p:spPr>
          <a:xfrm>
            <a:off x="6446438" y="5400023"/>
            <a:ext cx="2584184" cy="5486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Quicksand"/>
              </a:rPr>
              <a:t>Bag sales at the market</a:t>
            </a:r>
          </a:p>
        </p:txBody>
      </p:sp>
      <p:pic>
        <p:nvPicPr>
          <p:cNvPr id="34" name="Picture 11" descr="page4image1467080736">
            <a:extLst>
              <a:ext uri="{FF2B5EF4-FFF2-40B4-BE49-F238E27FC236}">
                <a16:creationId xmlns:a16="http://schemas.microsoft.com/office/drawing/2014/main" id="{EA2C11E5-5EE7-139D-B356-C81F34154E19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6438" y="3767113"/>
            <a:ext cx="2584910" cy="1634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3EB95C3-A27B-33CE-EC40-29169BF8A7A3}"/>
              </a:ext>
            </a:extLst>
          </p:cNvPr>
          <p:cNvSpPr/>
          <p:nvPr/>
        </p:nvSpPr>
        <p:spPr>
          <a:xfrm>
            <a:off x="6446438" y="1243623"/>
            <a:ext cx="2584184" cy="163291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2D7FAC2-B2E3-EC86-3085-D63DAC04FF46}"/>
              </a:ext>
            </a:extLst>
          </p:cNvPr>
          <p:cNvSpPr/>
          <p:nvPr/>
        </p:nvSpPr>
        <p:spPr>
          <a:xfrm>
            <a:off x="6446438" y="2876534"/>
            <a:ext cx="2584184" cy="5524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Quicksand"/>
              </a:rPr>
              <a:t>Hair dresser</a:t>
            </a:r>
          </a:p>
        </p:txBody>
      </p:sp>
      <p:pic>
        <p:nvPicPr>
          <p:cNvPr id="35" name="Picture 20">
            <a:extLst>
              <a:ext uri="{FF2B5EF4-FFF2-40B4-BE49-F238E27FC236}">
                <a16:creationId xmlns:a16="http://schemas.microsoft.com/office/drawing/2014/main" id="{7A80B6C8-8D32-BC15-D4E2-5B0387CFCC3B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046"/>
          <a:stretch/>
        </p:blipFill>
        <p:spPr bwMode="auto">
          <a:xfrm>
            <a:off x="6446438" y="1243623"/>
            <a:ext cx="2584910" cy="1634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60BEA36-DF98-F3D0-F80A-B18859C8FB16}"/>
              </a:ext>
            </a:extLst>
          </p:cNvPr>
          <p:cNvSpPr/>
          <p:nvPr/>
        </p:nvSpPr>
        <p:spPr>
          <a:xfrm>
            <a:off x="9236729" y="3767113"/>
            <a:ext cx="2584184" cy="163291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3EFEFE0-BFAD-635B-B2B4-E19A3BAF5EE7}"/>
              </a:ext>
            </a:extLst>
          </p:cNvPr>
          <p:cNvSpPr/>
          <p:nvPr/>
        </p:nvSpPr>
        <p:spPr>
          <a:xfrm>
            <a:off x="9236729" y="5400023"/>
            <a:ext cx="2584184" cy="5486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Quicksand"/>
              </a:rPr>
              <a:t>Small wares trader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080E8648-632F-BA16-259F-E4213B21CEF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0837"/>
          <a:stretch/>
        </p:blipFill>
        <p:spPr>
          <a:xfrm>
            <a:off x="9236729" y="3767113"/>
            <a:ext cx="2584910" cy="163239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E640AF7-DAF2-905B-A2E5-85EE883C4573}"/>
              </a:ext>
            </a:extLst>
          </p:cNvPr>
          <p:cNvSpPr/>
          <p:nvPr/>
        </p:nvSpPr>
        <p:spPr>
          <a:xfrm>
            <a:off x="3656148" y="1243623"/>
            <a:ext cx="2584184" cy="163291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00A65AE-4565-76A7-4AE3-AE212895E87A}"/>
              </a:ext>
            </a:extLst>
          </p:cNvPr>
          <p:cNvSpPr/>
          <p:nvPr/>
        </p:nvSpPr>
        <p:spPr>
          <a:xfrm>
            <a:off x="3656148" y="2876534"/>
            <a:ext cx="2584184" cy="5524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Quicksand"/>
              </a:rPr>
              <a:t>Cooked food vendor</a:t>
            </a:r>
          </a:p>
        </p:txBody>
      </p:sp>
      <p:pic>
        <p:nvPicPr>
          <p:cNvPr id="37" name="Picture 22">
            <a:extLst>
              <a:ext uri="{FF2B5EF4-FFF2-40B4-BE49-F238E27FC236}">
                <a16:creationId xmlns:a16="http://schemas.microsoft.com/office/drawing/2014/main" id="{2B5E8A69-9EA7-9208-08C5-8E0C0FEEB974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00" t="6935" b="19977"/>
          <a:stretch/>
        </p:blipFill>
        <p:spPr bwMode="auto">
          <a:xfrm>
            <a:off x="3656148" y="1243623"/>
            <a:ext cx="2584910" cy="1634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93E801C-DB01-14C4-8650-2FA3F639B709}"/>
              </a:ext>
            </a:extLst>
          </p:cNvPr>
          <p:cNvSpPr/>
          <p:nvPr/>
        </p:nvSpPr>
        <p:spPr>
          <a:xfrm>
            <a:off x="9236729" y="1243623"/>
            <a:ext cx="2584184" cy="163291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92A84-38B1-5E7F-F87B-5CD1BFED9AD0}"/>
              </a:ext>
            </a:extLst>
          </p:cNvPr>
          <p:cNvSpPr/>
          <p:nvPr/>
        </p:nvSpPr>
        <p:spPr>
          <a:xfrm>
            <a:off x="9236729" y="2876534"/>
            <a:ext cx="2584184" cy="5524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  <a:latin typeface="Quicksand"/>
              </a:rPr>
              <a:t>Clothing vendor</a:t>
            </a:r>
          </a:p>
        </p:txBody>
      </p:sp>
      <p:pic>
        <p:nvPicPr>
          <p:cNvPr id="38" name="Picture 24">
            <a:extLst>
              <a:ext uri="{FF2B5EF4-FFF2-40B4-BE49-F238E27FC236}">
                <a16:creationId xmlns:a16="http://schemas.microsoft.com/office/drawing/2014/main" id="{4F02E35C-12A5-3236-81DA-30A323F02DDC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2" b="3391"/>
          <a:stretch/>
        </p:blipFill>
        <p:spPr bwMode="auto">
          <a:xfrm>
            <a:off x="9236729" y="1243623"/>
            <a:ext cx="2584910" cy="1634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48211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Regulation of Informal Trade in South Africa</a:t>
            </a:r>
            <a:endParaRPr lang="en-GB" sz="4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1A7D5A-A94F-7F1A-391A-C164BC9D7F4E}"/>
              </a:ext>
            </a:extLst>
          </p:cNvPr>
          <p:cNvSpPr>
            <a:spLocks/>
          </p:cNvSpPr>
          <p:nvPr/>
        </p:nvSpPr>
        <p:spPr>
          <a:xfrm>
            <a:off x="859197" y="1217582"/>
            <a:ext cx="5236803" cy="4036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Quicksand"/>
                <a:cs typeface="Calibri" panose="020F0502020204030204" pitchFamily="34" charset="0"/>
              </a:rPr>
              <a:t>Hierarchy of Law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AEC293-C2A1-938F-30F8-A540AFB1098D}"/>
              </a:ext>
            </a:extLst>
          </p:cNvPr>
          <p:cNvSpPr/>
          <p:nvPr/>
        </p:nvSpPr>
        <p:spPr>
          <a:xfrm>
            <a:off x="859197" y="1629796"/>
            <a:ext cx="5236803" cy="3815662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lvl="1">
              <a:spcBef>
                <a:spcPts val="526"/>
              </a:spcBef>
              <a:defRPr/>
            </a:pPr>
            <a:endParaRPr lang="en-ZA" sz="1400" b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0A0289-419D-4878-5937-F047BEA46681}"/>
              </a:ext>
            </a:extLst>
          </p:cNvPr>
          <p:cNvSpPr>
            <a:spLocks/>
          </p:cNvSpPr>
          <p:nvPr/>
        </p:nvSpPr>
        <p:spPr>
          <a:xfrm>
            <a:off x="6205338" y="1217582"/>
            <a:ext cx="5176896" cy="4036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400" b="1" dirty="0">
                <a:solidFill>
                  <a:prstClr val="white"/>
                </a:solidFill>
                <a:latin typeface="Quicksand"/>
                <a:cs typeface="Calibri" panose="020F0502020204030204" pitchFamily="34" charset="0"/>
              </a:rPr>
              <a:t>Laws and Policies Relating to Informal Trade</a:t>
            </a:r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Quicksand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0A1F7AC-7FDB-6728-E19D-8D7B460914AA}"/>
              </a:ext>
            </a:extLst>
          </p:cNvPr>
          <p:cNvSpPr/>
          <p:nvPr/>
        </p:nvSpPr>
        <p:spPr>
          <a:xfrm>
            <a:off x="6205338" y="1629796"/>
            <a:ext cx="5176896" cy="3815662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71450" lvl="0" indent="-171450">
              <a:spcBef>
                <a:spcPts val="526"/>
              </a:spcBef>
              <a:buClr>
                <a:srgbClr val="00B0E1"/>
              </a:buClr>
              <a:buFont typeface="Arial" panose="020B0604020202020204" pitchFamily="34" charset="0"/>
              <a:buChar char="•"/>
              <a:defRPr/>
            </a:pPr>
            <a:r>
              <a:rPr lang="en-ZA" sz="1400" b="1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The</a:t>
            </a:r>
            <a:r>
              <a:rPr lang="en-ZA" sz="1400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 </a:t>
            </a:r>
            <a:r>
              <a:rPr lang="en-ZA" sz="1400" b="1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Constitution</a:t>
            </a:r>
            <a:r>
              <a:rPr lang="en-ZA" sz="1400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 </a:t>
            </a:r>
            <a:r>
              <a:rPr lang="en-ZA" sz="1400" b="1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of South Africa </a:t>
            </a:r>
          </a:p>
          <a:p>
            <a:pPr marL="628650" lvl="1" indent="-171450">
              <a:spcBef>
                <a:spcPts val="526"/>
              </a:spcBef>
              <a:buClr>
                <a:srgbClr val="00B0E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The Constitution is the supreme law in South Africa and all other laws get their power from it</a:t>
            </a:r>
          </a:p>
          <a:p>
            <a:pPr marL="628650" lvl="1" indent="-171450">
              <a:spcBef>
                <a:spcPts val="526"/>
              </a:spcBef>
              <a:buClr>
                <a:srgbClr val="00B0E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It  contains a number of fundamental rights for informal trade including the rights to human dignity, equality, to choose one’s trade and just administrative action</a:t>
            </a:r>
          </a:p>
          <a:p>
            <a:pPr marL="171450" lvl="0" indent="-171450">
              <a:spcBef>
                <a:spcPts val="526"/>
              </a:spcBef>
              <a:buClr>
                <a:srgbClr val="00B0E1"/>
              </a:buClr>
              <a:buFont typeface="Arial" panose="020B0604020202020204" pitchFamily="34" charset="0"/>
              <a:buChar char="•"/>
              <a:defRPr/>
            </a:pPr>
            <a:r>
              <a:rPr lang="en-ZA" sz="1400" b="1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The</a:t>
            </a:r>
            <a:r>
              <a:rPr lang="en-ZA" sz="1400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 </a:t>
            </a:r>
            <a:r>
              <a:rPr lang="en-ZA" sz="1400" b="1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Businesses Act </a:t>
            </a:r>
            <a:r>
              <a:rPr lang="en-ZA" sz="1400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(72 of 1991)</a:t>
            </a:r>
          </a:p>
          <a:p>
            <a:pPr marL="628650" lvl="1" indent="-171450">
              <a:spcBef>
                <a:spcPts val="526"/>
              </a:spcBef>
              <a:buClr>
                <a:srgbClr val="00B0E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This gives effect to the rights in the Constitution</a:t>
            </a:r>
          </a:p>
          <a:p>
            <a:pPr marL="628650" lvl="1" indent="-171450">
              <a:spcBef>
                <a:spcPts val="526"/>
              </a:spcBef>
              <a:buClr>
                <a:srgbClr val="00B0E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It creates a shifts in how informal trade is governed – from a repressive framework to one which recognizes informal trade as a critical sector</a:t>
            </a:r>
          </a:p>
          <a:p>
            <a:pPr marL="171450" lvl="0" indent="-171450">
              <a:spcBef>
                <a:spcPts val="526"/>
              </a:spcBef>
              <a:buClr>
                <a:srgbClr val="00B0E1"/>
              </a:buClr>
              <a:buFont typeface="Arial" panose="020B0604020202020204" pitchFamily="34" charset="0"/>
              <a:buChar char="•"/>
              <a:defRPr/>
            </a:pPr>
            <a:r>
              <a:rPr lang="en-ZA" sz="1400" b="1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Municipal By-laws </a:t>
            </a:r>
          </a:p>
          <a:p>
            <a:pPr marL="628650" lvl="1" indent="-171450">
              <a:spcBef>
                <a:spcPts val="526"/>
              </a:spcBef>
              <a:buClr>
                <a:srgbClr val="00B0E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rgbClr val="595959"/>
                </a:solidFill>
                <a:latin typeface="Quicksand" pitchFamily="2" charset="0"/>
                <a:cs typeface="Calibri" panose="020F0502020204030204" pitchFamily="34" charset="0"/>
              </a:rPr>
              <a:t>The Businesses Act gives municipal councils the power to adopt by-laws to enable and regulate informal trade</a:t>
            </a:r>
            <a:endParaRPr lang="en-ZA" sz="1400" dirty="0">
              <a:solidFill>
                <a:prstClr val="black"/>
              </a:solidFill>
              <a:latin typeface="Quicksand" pitchFamily="2" charset="0"/>
              <a:cs typeface="Calibri" panose="020F0502020204030204" pitchFamily="34" charset="0"/>
            </a:endParaRPr>
          </a:p>
          <a:p>
            <a:pPr marL="285750" lvl="0" indent="-285750">
              <a:spcBef>
                <a:spcPts val="526"/>
              </a:spcBef>
              <a:buFont typeface="Arial" panose="020B0604020202020204" pitchFamily="34" charset="0"/>
              <a:buChar char="•"/>
              <a:defRPr/>
            </a:pPr>
            <a:endParaRPr lang="en-ZA" sz="12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DF46E0-4782-7935-EF80-586F3B9E5343}"/>
              </a:ext>
            </a:extLst>
          </p:cNvPr>
          <p:cNvSpPr>
            <a:spLocks/>
          </p:cNvSpPr>
          <p:nvPr/>
        </p:nvSpPr>
        <p:spPr>
          <a:xfrm>
            <a:off x="859197" y="6468070"/>
            <a:ext cx="6369004" cy="3151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 anchorCtr="0"/>
          <a:lstStyle/>
          <a:p>
            <a:pPr lvl="0">
              <a:defRPr/>
            </a:pPr>
            <a:r>
              <a:rPr kumimoji="0" lang="en-ZA" sz="10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Quicksand" pitchFamily="2" charset="0"/>
                <a:cs typeface="Calibri" panose="020F0502020204030204" pitchFamily="34" charset="0"/>
              </a:rPr>
              <a:t>Source: </a:t>
            </a:r>
            <a:r>
              <a:rPr lang="en-US" sz="1000" dirty="0">
                <a:solidFill>
                  <a:schemeClr val="bg2"/>
                </a:solidFill>
                <a:latin typeface="Quicksand" pitchFamily="2" charset="0"/>
                <a:cs typeface="Calibri" panose="020F0502020204030204" pitchFamily="34" charset="0"/>
              </a:rPr>
              <a:t>Hodgson and Clark, Socio-Economic Rights Institute in collaboration with SALGA</a:t>
            </a:r>
          </a:p>
        </p:txBody>
      </p:sp>
      <p:sp>
        <p:nvSpPr>
          <p:cNvPr id="10" name="Rectangle: Diagonal Corners Rounded 13">
            <a:extLst>
              <a:ext uri="{FF2B5EF4-FFF2-40B4-BE49-F238E27FC236}">
                <a16:creationId xmlns:a16="http://schemas.microsoft.com/office/drawing/2014/main" id="{1B8B9E2D-E6D7-AB8D-5C06-A6A0725E5F2D}"/>
              </a:ext>
            </a:extLst>
          </p:cNvPr>
          <p:cNvSpPr/>
          <p:nvPr/>
        </p:nvSpPr>
        <p:spPr>
          <a:xfrm>
            <a:off x="2252302" y="1871536"/>
            <a:ext cx="2450592" cy="451104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Quicksand" pitchFamily="2" charset="0"/>
              </a:rPr>
              <a:t>Constitution</a:t>
            </a:r>
          </a:p>
        </p:txBody>
      </p:sp>
      <p:sp>
        <p:nvSpPr>
          <p:cNvPr id="11" name="Rectangle: Diagonal Corners Rounded 14">
            <a:extLst>
              <a:ext uri="{FF2B5EF4-FFF2-40B4-BE49-F238E27FC236}">
                <a16:creationId xmlns:a16="http://schemas.microsoft.com/office/drawing/2014/main" id="{6DE5DC5A-B8F1-DE9C-E0F4-CB620329CFBF}"/>
              </a:ext>
            </a:extLst>
          </p:cNvPr>
          <p:cNvSpPr/>
          <p:nvPr/>
        </p:nvSpPr>
        <p:spPr>
          <a:xfrm>
            <a:off x="1821967" y="2568824"/>
            <a:ext cx="3311263" cy="609536"/>
          </a:xfrm>
          <a:prstGeom prst="round2DiagRect">
            <a:avLst>
              <a:gd name="adj1" fmla="val 50000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Quicksand" pitchFamily="2" charset="0"/>
              </a:rPr>
              <a:t>Business act &amp; policies</a:t>
            </a:r>
          </a:p>
        </p:txBody>
      </p:sp>
      <p:sp>
        <p:nvSpPr>
          <p:cNvPr id="16" name="Rectangle: Diagonal Corners Rounded 15">
            <a:extLst>
              <a:ext uri="{FF2B5EF4-FFF2-40B4-BE49-F238E27FC236}">
                <a16:creationId xmlns:a16="http://schemas.microsoft.com/office/drawing/2014/main" id="{E7C13C4A-5700-F260-35B6-B5F17239DB2C}"/>
              </a:ext>
            </a:extLst>
          </p:cNvPr>
          <p:cNvSpPr/>
          <p:nvPr/>
        </p:nvSpPr>
        <p:spPr>
          <a:xfrm>
            <a:off x="1821967" y="3553562"/>
            <a:ext cx="3311263" cy="609536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Quicksand" pitchFamily="2" charset="0"/>
              </a:rPr>
              <a:t>Municipal by-laws &amp; policies</a:t>
            </a:r>
          </a:p>
        </p:txBody>
      </p:sp>
      <p:sp>
        <p:nvSpPr>
          <p:cNvPr id="17" name="Rectangle: Diagonal Corners Rounded 16">
            <a:extLst>
              <a:ext uri="{FF2B5EF4-FFF2-40B4-BE49-F238E27FC236}">
                <a16:creationId xmlns:a16="http://schemas.microsoft.com/office/drawing/2014/main" id="{D0EDC629-B4C9-3179-79CA-1FC41B297A67}"/>
              </a:ext>
            </a:extLst>
          </p:cNvPr>
          <p:cNvSpPr/>
          <p:nvPr/>
        </p:nvSpPr>
        <p:spPr>
          <a:xfrm>
            <a:off x="1748088" y="4462802"/>
            <a:ext cx="3459020" cy="63673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Quicksand" pitchFamily="2" charset="0"/>
              </a:rPr>
              <a:t>Actions of municipal councils &amp; local government officials</a:t>
            </a:r>
          </a:p>
        </p:txBody>
      </p:sp>
      <p:sp>
        <p:nvSpPr>
          <p:cNvPr id="18" name="Flowchart: Merge 17">
            <a:extLst>
              <a:ext uri="{FF2B5EF4-FFF2-40B4-BE49-F238E27FC236}">
                <a16:creationId xmlns:a16="http://schemas.microsoft.com/office/drawing/2014/main" id="{D8DD0926-BCC6-23C2-283D-4E551581EF22}"/>
              </a:ext>
            </a:extLst>
          </p:cNvPr>
          <p:cNvSpPr/>
          <p:nvPr/>
        </p:nvSpPr>
        <p:spPr>
          <a:xfrm>
            <a:off x="3303889" y="2309446"/>
            <a:ext cx="347419" cy="222738"/>
          </a:xfrm>
          <a:prstGeom prst="flowChartMerg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Flowchart: Merge 18">
            <a:extLst>
              <a:ext uri="{FF2B5EF4-FFF2-40B4-BE49-F238E27FC236}">
                <a16:creationId xmlns:a16="http://schemas.microsoft.com/office/drawing/2014/main" id="{EDF8F466-65A4-2AD9-E686-570831346AE9}"/>
              </a:ext>
            </a:extLst>
          </p:cNvPr>
          <p:cNvSpPr/>
          <p:nvPr/>
        </p:nvSpPr>
        <p:spPr>
          <a:xfrm>
            <a:off x="3303889" y="3176954"/>
            <a:ext cx="347419" cy="222738"/>
          </a:xfrm>
          <a:prstGeom prst="flowChartMerg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Flowchart: Merge 19">
            <a:extLst>
              <a:ext uri="{FF2B5EF4-FFF2-40B4-BE49-F238E27FC236}">
                <a16:creationId xmlns:a16="http://schemas.microsoft.com/office/drawing/2014/main" id="{8C0270B1-0FD8-6AAE-504C-3B7A22D3B718}"/>
              </a:ext>
            </a:extLst>
          </p:cNvPr>
          <p:cNvSpPr/>
          <p:nvPr/>
        </p:nvSpPr>
        <p:spPr>
          <a:xfrm>
            <a:off x="3303889" y="4149969"/>
            <a:ext cx="347419" cy="222738"/>
          </a:xfrm>
          <a:prstGeom prst="flowChartMerg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5A66F8-5C58-2137-67C7-8E15F8861642}"/>
              </a:ext>
            </a:extLst>
          </p:cNvPr>
          <p:cNvSpPr/>
          <p:nvPr/>
        </p:nvSpPr>
        <p:spPr>
          <a:xfrm>
            <a:off x="859198" y="5535553"/>
            <a:ext cx="10523036" cy="687826"/>
          </a:xfrm>
          <a:prstGeom prst="rect">
            <a:avLst/>
          </a:prstGeom>
          <a:solidFill>
            <a:srgbClr val="F7F7F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>
              <a:spcBef>
                <a:spcPts val="526"/>
              </a:spcBef>
              <a:defRPr/>
            </a:pPr>
            <a:r>
              <a:rPr lang="en-ZA" sz="1600" b="1" dirty="0">
                <a:solidFill>
                  <a:schemeClr val="bg2"/>
                </a:solidFill>
                <a:latin typeface="Quicksand"/>
                <a:cs typeface="Calibri" panose="020F0502020204030204" pitchFamily="34" charset="0"/>
              </a:rPr>
              <a:t>Despite these protections informal traders often remain vulnerable </a:t>
            </a:r>
          </a:p>
        </p:txBody>
      </p:sp>
    </p:spTree>
    <p:extLst>
      <p:ext uri="{BB962C8B-B14F-4D97-AF65-F5344CB8AC3E}">
        <p14:creationId xmlns:p14="http://schemas.microsoft.com/office/powerpoint/2010/main" val="22972106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Challenges of Informal Trade (1 of 2)</a:t>
            </a:r>
            <a:endParaRPr lang="en-GB" sz="4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1A7D5A-A94F-7F1A-391A-C164BC9D7F4E}"/>
              </a:ext>
            </a:extLst>
          </p:cNvPr>
          <p:cNvSpPr>
            <a:spLocks/>
          </p:cNvSpPr>
          <p:nvPr/>
        </p:nvSpPr>
        <p:spPr>
          <a:xfrm>
            <a:off x="859197" y="1217582"/>
            <a:ext cx="5236803" cy="4036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Quicksand"/>
                <a:cs typeface="Calibri" panose="020F0502020204030204" pitchFamily="34" charset="0"/>
              </a:rPr>
              <a:t>Typical Challenges Experienced by Informal Trad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DF46E0-4782-7935-EF80-586F3B9E5343}"/>
              </a:ext>
            </a:extLst>
          </p:cNvPr>
          <p:cNvSpPr>
            <a:spLocks/>
          </p:cNvSpPr>
          <p:nvPr/>
        </p:nvSpPr>
        <p:spPr>
          <a:xfrm>
            <a:off x="859197" y="6468070"/>
            <a:ext cx="6369004" cy="3151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 anchorCtr="0"/>
          <a:lstStyle/>
          <a:p>
            <a:pPr lvl="0">
              <a:defRPr/>
            </a:pPr>
            <a:r>
              <a:rPr kumimoji="0" lang="en-ZA" sz="10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Quicksand" pitchFamily="2" charset="0"/>
                <a:cs typeface="Calibri" panose="020F0502020204030204" pitchFamily="34" charset="0"/>
              </a:rPr>
              <a:t>Source: </a:t>
            </a:r>
            <a:r>
              <a:rPr lang="en-US" sz="1000" dirty="0">
                <a:solidFill>
                  <a:schemeClr val="bg2"/>
                </a:solidFill>
                <a:latin typeface="Quicksand" pitchFamily="2" charset="0"/>
                <a:cs typeface="Calibri" panose="020F0502020204030204" pitchFamily="34" charset="0"/>
              </a:rPr>
              <a:t>Hodgson and Clark, Socio-Economic Rights Institute in collaboration with SALG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AEC293-C2A1-938F-30F8-A540AFB1098D}"/>
              </a:ext>
            </a:extLst>
          </p:cNvPr>
          <p:cNvSpPr/>
          <p:nvPr/>
        </p:nvSpPr>
        <p:spPr>
          <a:xfrm>
            <a:off x="859197" y="1629796"/>
            <a:ext cx="5236803" cy="447454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176213" indent="-176213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Challenges relating to all informal traders are mainly related to </a:t>
            </a:r>
            <a:r>
              <a:rPr lang="en-ZA" sz="1400" b="1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a lack of decent working conditions</a:t>
            </a: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. These include: </a:t>
            </a:r>
          </a:p>
          <a:p>
            <a:pPr marL="539750" lvl="1" indent="-269875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a fair income</a:t>
            </a:r>
          </a:p>
          <a:p>
            <a:pPr marL="539750" lvl="1" indent="-269875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secure employment</a:t>
            </a:r>
          </a:p>
          <a:p>
            <a:pPr marL="539750" lvl="1" indent="-269875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safe working conditions</a:t>
            </a:r>
          </a:p>
          <a:p>
            <a:pPr marL="539750" lvl="1" indent="-269875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social protections </a:t>
            </a:r>
          </a:p>
          <a:p>
            <a:pPr marL="539750" lvl="1" indent="-269875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freedom to organise </a:t>
            </a:r>
          </a:p>
          <a:p>
            <a:pPr marL="176213" indent="-176213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Challenges </a:t>
            </a:r>
            <a:r>
              <a:rPr lang="en-ZA" sz="1400" b="1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particular to</a:t>
            </a: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 </a:t>
            </a:r>
            <a:r>
              <a:rPr lang="en-ZA" sz="1400" b="1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women traders </a:t>
            </a: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include: </a:t>
            </a:r>
          </a:p>
          <a:p>
            <a:pPr marL="539750" lvl="1" indent="-269875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lack of affordable child-care – women often have to manage child-care responsibilities while trading</a:t>
            </a:r>
          </a:p>
          <a:p>
            <a:pPr marL="539750" lvl="1" indent="-269875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no maternity protection </a:t>
            </a:r>
          </a:p>
          <a:p>
            <a:pPr marL="539750" lvl="1" indent="-269875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vulnerability to violence while operating in the inner city – this affects working hours and therefore results in a decrease in income</a:t>
            </a:r>
          </a:p>
          <a:p>
            <a:pPr marL="539750" lvl="1" indent="-269875">
              <a:spcBef>
                <a:spcPts val="526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household responsibilities limit women’s participation in </a:t>
            </a:r>
            <a:b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</a:br>
            <a:r>
              <a:rPr lang="en-ZA" sz="1400" dirty="0">
                <a:solidFill>
                  <a:schemeClr val="tx1"/>
                </a:solidFill>
                <a:latin typeface="Quicksand" pitchFamily="2" charset="0"/>
                <a:cs typeface="Calibri" panose="020F0502020204030204" pitchFamily="34" charset="0"/>
              </a:rPr>
              <a:t>trader committees</a:t>
            </a:r>
          </a:p>
          <a:p>
            <a:pPr marL="171450" indent="-171450">
              <a:spcBef>
                <a:spcPts val="526"/>
              </a:spcBef>
              <a:buFont typeface="Arial" panose="020B0604020202020204" pitchFamily="34" charset="0"/>
              <a:buChar char="•"/>
              <a:defRPr/>
            </a:pPr>
            <a:endParaRPr lang="en-ZA" sz="1400" b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FD975D7-709C-64E0-17F1-BEFD688B7A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62" b="6934"/>
          <a:stretch/>
        </p:blipFill>
        <p:spPr bwMode="auto">
          <a:xfrm>
            <a:off x="6411310" y="1217582"/>
            <a:ext cx="4970923" cy="486932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74646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0F13F1E-8E21-9B51-E85B-A28E06FA3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197" y="113522"/>
            <a:ext cx="11471983" cy="1091046"/>
          </a:xfrm>
        </p:spPr>
        <p:txBody>
          <a:bodyPr>
            <a:noAutofit/>
          </a:bodyPr>
          <a:lstStyle/>
          <a:p>
            <a:r>
              <a:rPr lang="en-ZA" sz="4000" dirty="0"/>
              <a:t>Challenges of Informal Trade (2 of 2)</a:t>
            </a:r>
            <a:endParaRPr lang="en-GB" sz="4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1A7D5A-A94F-7F1A-391A-C164BC9D7F4E}"/>
              </a:ext>
            </a:extLst>
          </p:cNvPr>
          <p:cNvSpPr>
            <a:spLocks/>
          </p:cNvSpPr>
          <p:nvPr/>
        </p:nvSpPr>
        <p:spPr>
          <a:xfrm>
            <a:off x="859197" y="1217582"/>
            <a:ext cx="5236803" cy="4036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Quicksand"/>
                <a:cs typeface="Calibri" panose="020F0502020204030204" pitchFamily="34" charset="0"/>
              </a:rPr>
              <a:t>Typical Challenges Experienced by Informal Trad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DF46E0-4782-7935-EF80-586F3B9E5343}"/>
              </a:ext>
            </a:extLst>
          </p:cNvPr>
          <p:cNvSpPr>
            <a:spLocks/>
          </p:cNvSpPr>
          <p:nvPr/>
        </p:nvSpPr>
        <p:spPr>
          <a:xfrm>
            <a:off x="859197" y="6468070"/>
            <a:ext cx="6369004" cy="3151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t" anchorCtr="0"/>
          <a:lstStyle/>
          <a:p>
            <a:pPr lvl="0">
              <a:defRPr/>
            </a:pPr>
            <a:r>
              <a:rPr kumimoji="0" lang="en-ZA" sz="10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Quicksand" pitchFamily="2" charset="0"/>
                <a:cs typeface="Calibri" panose="020F0502020204030204" pitchFamily="34" charset="0"/>
              </a:rPr>
              <a:t>Source: </a:t>
            </a:r>
            <a:r>
              <a:rPr lang="en-US" sz="1000" dirty="0">
                <a:solidFill>
                  <a:schemeClr val="bg2"/>
                </a:solidFill>
                <a:latin typeface="Quicksand" pitchFamily="2" charset="0"/>
                <a:cs typeface="Calibri" panose="020F0502020204030204" pitchFamily="34" charset="0"/>
              </a:rPr>
              <a:t>Hodgson and Clark, Socio-Economic Rights Institute in collaboration with SALG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AEC293-C2A1-938F-30F8-A540AFB1098D}"/>
              </a:ext>
            </a:extLst>
          </p:cNvPr>
          <p:cNvSpPr/>
          <p:nvPr/>
        </p:nvSpPr>
        <p:spPr>
          <a:xfrm>
            <a:off x="859197" y="1629796"/>
            <a:ext cx="5236803" cy="4461539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285750" lvl="0" indent="-285750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Challenges relating to the </a:t>
            </a:r>
            <a:r>
              <a:rPr lang="en-US" sz="1400" b="1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restrictive regulatory environment </a:t>
            </a: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in South Africa:</a:t>
            </a:r>
          </a:p>
          <a:p>
            <a:pPr marL="539750" lvl="1" indent="-26987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Municipal by-laws are focused more on “don’ts” than ”do’s”</a:t>
            </a:r>
          </a:p>
          <a:p>
            <a:pPr marL="728663" lvl="1" indent="-271463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Unfair treatment of informal traders by the law enforcement officials on a regular basis. Examples of this include:</a:t>
            </a:r>
          </a:p>
          <a:p>
            <a:pPr marL="996950" lvl="2" indent="-26987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Unlawful confiscations and impoundment of goods</a:t>
            </a:r>
          </a:p>
          <a:p>
            <a:pPr marL="996950" lvl="2" indent="-26987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Requests for bribes</a:t>
            </a:r>
          </a:p>
          <a:p>
            <a:pPr marL="996950" lvl="2" indent="-26987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General harassment </a:t>
            </a:r>
          </a:p>
          <a:p>
            <a:pPr marL="539750" lvl="1" indent="-269875">
              <a:spcBef>
                <a:spcPts val="526"/>
              </a:spcBef>
              <a:buClr>
                <a:srgbClr val="00A79D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C0C0C"/>
                </a:solidFill>
                <a:latin typeface="Quicksand" pitchFamily="2" charset="0"/>
                <a:cs typeface="Calibri" panose="020F0502020204030204" pitchFamily="34" charset="0"/>
              </a:rPr>
              <a:t>Unlawful evictions and relocations </a:t>
            </a:r>
          </a:p>
          <a:p>
            <a:pPr marL="171450" indent="-171450">
              <a:spcBef>
                <a:spcPts val="526"/>
              </a:spcBef>
              <a:buFont typeface="Arial" panose="020B0604020202020204" pitchFamily="34" charset="0"/>
              <a:buChar char="•"/>
              <a:defRPr/>
            </a:pPr>
            <a:endParaRPr lang="en-ZA" sz="1400" b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A2A73E-F09E-A81F-CAC5-00D5FF5ADAB4}"/>
              </a:ext>
            </a:extLst>
          </p:cNvPr>
          <p:cNvSpPr/>
          <p:nvPr/>
        </p:nvSpPr>
        <p:spPr>
          <a:xfrm>
            <a:off x="1032528" y="4890495"/>
            <a:ext cx="4890140" cy="779141"/>
          </a:xfrm>
          <a:prstGeom prst="rect">
            <a:avLst/>
          </a:prstGeom>
          <a:solidFill>
            <a:srgbClr val="F7F7F7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algn="ctr">
              <a:spcBef>
                <a:spcPts val="526"/>
              </a:spcBef>
              <a:defRPr/>
            </a:pPr>
            <a:r>
              <a:rPr lang="en-ZA" sz="1400" b="1" dirty="0">
                <a:solidFill>
                  <a:schemeClr val="bg2"/>
                </a:solidFill>
                <a:latin typeface="Quicksand"/>
                <a:cs typeface="Calibri" panose="020F0502020204030204" pitchFamily="34" charset="0"/>
              </a:rPr>
              <a:t>“Operation Clean Sweep” </a:t>
            </a:r>
            <a:r>
              <a:rPr lang="en-ZA" sz="1400" dirty="0">
                <a:solidFill>
                  <a:schemeClr val="bg2"/>
                </a:solidFill>
                <a:latin typeface="Quicksand"/>
                <a:cs typeface="Calibri" panose="020F0502020204030204" pitchFamily="34" charset="0"/>
              </a:rPr>
              <a:t>is an example of a forced recent eviction and relocation in Johannesburg</a:t>
            </a:r>
          </a:p>
        </p:txBody>
      </p:sp>
      <p:pic>
        <p:nvPicPr>
          <p:cNvPr id="13" name="Picture 1" descr="page9image887736128">
            <a:extLst>
              <a:ext uri="{FF2B5EF4-FFF2-40B4-BE49-F238E27FC236}">
                <a16:creationId xmlns:a16="http://schemas.microsoft.com/office/drawing/2014/main" id="{7E9F7F91-25B6-871A-86AA-EB12A180A2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2" r="2776"/>
          <a:stretch/>
        </p:blipFill>
        <p:spPr bwMode="auto">
          <a:xfrm>
            <a:off x="6411310" y="1217583"/>
            <a:ext cx="5056974" cy="48737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274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ll Systems Connect">
      <a:dk1>
        <a:srgbClr val="0C0C0C"/>
      </a:dk1>
      <a:lt1>
        <a:sysClr val="window" lastClr="FFFFFF"/>
      </a:lt1>
      <a:dk2>
        <a:srgbClr val="CAF906"/>
      </a:dk2>
      <a:lt2>
        <a:srgbClr val="00B0E1"/>
      </a:lt2>
      <a:accent1>
        <a:srgbClr val="00A79D"/>
      </a:accent1>
      <a:accent2>
        <a:srgbClr val="9D63E3"/>
      </a:accent2>
      <a:accent3>
        <a:srgbClr val="0F5C78"/>
      </a:accent3>
      <a:accent4>
        <a:srgbClr val="0C0C0C"/>
      </a:accent4>
      <a:accent5>
        <a:srgbClr val="595959"/>
      </a:accent5>
      <a:accent6>
        <a:srgbClr val="92CDDC"/>
      </a:accent6>
      <a:hlink>
        <a:srgbClr val="92CDDC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ystems Connect v6">
  <a:themeElements>
    <a:clrScheme name="All Systems Connect">
      <a:dk1>
        <a:srgbClr val="0C0C0C"/>
      </a:dk1>
      <a:lt1>
        <a:sysClr val="window" lastClr="FFFFFF"/>
      </a:lt1>
      <a:dk2>
        <a:srgbClr val="CAF906"/>
      </a:dk2>
      <a:lt2>
        <a:srgbClr val="00B0E1"/>
      </a:lt2>
      <a:accent1>
        <a:srgbClr val="00A79D"/>
      </a:accent1>
      <a:accent2>
        <a:srgbClr val="9D63E3"/>
      </a:accent2>
      <a:accent3>
        <a:srgbClr val="0F5C78"/>
      </a:accent3>
      <a:accent4>
        <a:srgbClr val="0C0C0C"/>
      </a:accent4>
      <a:accent5>
        <a:srgbClr val="595959"/>
      </a:accent5>
      <a:accent6>
        <a:srgbClr val="92CDDC"/>
      </a:accent6>
      <a:hlink>
        <a:srgbClr val="92CDDC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ystems Connect v6" id="{9077E7CF-C240-4DC5-8CEC-1F207DA33209}" vid="{5B4D52D3-153B-47F8-8E80-FF9DD0425245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E9FDEED1CF3F4B9DC0D7FB7D725DAF" ma:contentTypeVersion="17" ma:contentTypeDescription="Create a new document." ma:contentTypeScope="" ma:versionID="a00065f7382228d9d3730e1fe2adf852">
  <xsd:schema xmlns:xsd="http://www.w3.org/2001/XMLSchema" xmlns:xs="http://www.w3.org/2001/XMLSchema" xmlns:p="http://schemas.microsoft.com/office/2006/metadata/properties" xmlns:ns2="7cf6d27a-a121-47a7-bb37-240d2e08ea91" xmlns:ns3="bbc718c4-94a0-4501-a8e8-70f7c8e44e11" targetNamespace="http://schemas.microsoft.com/office/2006/metadata/properties" ma:root="true" ma:fieldsID="76c43f8a2367fa9bfe0536691432201d" ns2:_="" ns3:_="">
    <xsd:import namespace="7cf6d27a-a121-47a7-bb37-240d2e08ea91"/>
    <xsd:import namespace="bbc718c4-94a0-4501-a8e8-70f7c8e44e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f6d27a-a121-47a7-bb37-240d2e08e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fe83bbb5-db0d-49e0-93d3-6afa06249b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718c4-94a0-4501-a8e8-70f7c8e44e1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72d0e25c-88f3-40b1-ba6b-c6b79027402b}" ma:internalName="TaxCatchAll" ma:showField="CatchAllData" ma:web="bbc718c4-94a0-4501-a8e8-70f7c8e44e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cf6d27a-a121-47a7-bb37-240d2e08ea91">
      <Terms xmlns="http://schemas.microsoft.com/office/infopath/2007/PartnerControls"/>
    </lcf76f155ced4ddcb4097134ff3c332f>
    <TaxCatchAll xmlns="bbc718c4-94a0-4501-a8e8-70f7c8e44e11" xsi:nil="true"/>
  </documentManagement>
</p:properties>
</file>

<file path=customXml/itemProps1.xml><?xml version="1.0" encoding="utf-8"?>
<ds:datastoreItem xmlns:ds="http://schemas.openxmlformats.org/officeDocument/2006/customXml" ds:itemID="{19DC1EC1-00D6-4CD8-8C10-1B7AFD5A561B}"/>
</file>

<file path=customXml/itemProps2.xml><?xml version="1.0" encoding="utf-8"?>
<ds:datastoreItem xmlns:ds="http://schemas.openxmlformats.org/officeDocument/2006/customXml" ds:itemID="{821479AF-6E72-4E75-943E-4C8023DD5F6F}"/>
</file>

<file path=customXml/itemProps3.xml><?xml version="1.0" encoding="utf-8"?>
<ds:datastoreItem xmlns:ds="http://schemas.openxmlformats.org/officeDocument/2006/customXml" ds:itemID="{31511640-2467-40B5-ADBC-AF315DDEF772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8</TotalTime>
  <Words>1388</Words>
  <Application>Microsoft Office PowerPoint</Application>
  <PresentationFormat>Widescreen</PresentationFormat>
  <Paragraphs>151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Bryant Medium Italic</vt:lpstr>
      <vt:lpstr>Calibri</vt:lpstr>
      <vt:lpstr>Calibri Light</vt:lpstr>
      <vt:lpstr>Quicksand</vt:lpstr>
      <vt:lpstr>Office Theme</vt:lpstr>
      <vt:lpstr>Systems Connect v6</vt:lpstr>
      <vt:lpstr>1_Office Theme</vt:lpstr>
      <vt:lpstr>think-cell Slide</vt:lpstr>
      <vt:lpstr>PowerPoint Presentation</vt:lpstr>
      <vt:lpstr>Informal Trade</vt:lpstr>
      <vt:lpstr>PowerPoint Presentation</vt:lpstr>
      <vt:lpstr>Misconceptions about the Informal Economy</vt:lpstr>
      <vt:lpstr>South Africa’s Developmental Challenges</vt:lpstr>
      <vt:lpstr>Informal Trade in South Africa</vt:lpstr>
      <vt:lpstr>Regulation of Informal Trade in South Africa</vt:lpstr>
      <vt:lpstr>Challenges of Informal Trade (1 of 2)</vt:lpstr>
      <vt:lpstr>Challenges of Informal Trade (2 of 2)</vt:lpstr>
      <vt:lpstr>“Operation Clean Sweep” Example</vt:lpstr>
      <vt:lpstr>Strategies Employed by Informal Workers</vt:lpstr>
      <vt:lpstr>Recommendations for Informal Trade Regulation</vt:lpstr>
      <vt:lpstr>Conclus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leneysan@gmail.com</dc:creator>
  <cp:lastModifiedBy>USER</cp:lastModifiedBy>
  <cp:revision>196</cp:revision>
  <dcterms:created xsi:type="dcterms:W3CDTF">2023-04-14T11:48:34Z</dcterms:created>
  <dcterms:modified xsi:type="dcterms:W3CDTF">2023-05-03T07:3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E9FDEED1CF3F4B9DC0D7FB7D725DAF</vt:lpwstr>
  </property>
</Properties>
</file>